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sldIdLst>
    <p:sldId id="590" r:id="rId2"/>
    <p:sldId id="676" r:id="rId3"/>
  </p:sldIdLst>
  <p:sldSz cx="9906000" cy="6858000" type="A4"/>
  <p:notesSz cx="7023100" cy="9309100"/>
  <p:custDataLst>
    <p:tags r:id="rId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566">
          <p15:clr>
            <a:srgbClr val="A4A3A4"/>
          </p15:clr>
        </p15:guide>
        <p15:guide id="2" pos="139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4B47"/>
    <a:srgbClr val="FF8F8F"/>
    <a:srgbClr val="1DB3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3298" autoAdjust="0"/>
    <p:restoredTop sz="96636" autoAdjust="0"/>
  </p:normalViewPr>
  <p:slideViewPr>
    <p:cSldViewPr showGuides="1">
      <p:cViewPr varScale="1">
        <p:scale>
          <a:sx n="113" d="100"/>
          <a:sy n="113" d="100"/>
        </p:scale>
        <p:origin x="864" y="114"/>
      </p:cViewPr>
      <p:guideLst>
        <p:guide orient="horz" pos="3566"/>
        <p:guide pos="139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03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4109" cy="4659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7352" y="0"/>
            <a:ext cx="3044109" cy="46597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5496916-EE4B-47B4-876B-0849DBA361B0}" type="datetimeFigureOut">
              <a:rPr lang="en-GB"/>
              <a:pPr>
                <a:defRPr/>
              </a:pPr>
              <a:t>24/05/2017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0600" y="698500"/>
            <a:ext cx="504190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983" y="4421562"/>
            <a:ext cx="5619136" cy="418931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1635"/>
            <a:ext cx="3044109" cy="46597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7352" y="8841635"/>
            <a:ext cx="3044109" cy="46597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2CC9E7B-FBD8-4D58-9B6F-AF2B1071E16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010654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slideMaster" Target="../slideMasters/slideMaster1.xml"/><Relationship Id="rId3" Type="http://schemas.openxmlformats.org/officeDocument/2006/relationships/tags" Target="../tags/tag6.xml"/><Relationship Id="rId21" Type="http://schemas.openxmlformats.org/officeDocument/2006/relationships/image" Target="../media/image8.png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image" Target="../media/image7.emf"/><Relationship Id="rId1" Type="http://schemas.openxmlformats.org/officeDocument/2006/relationships/vmlDrawing" Target="../drawings/vmlDrawing4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10" Type="http://schemas.openxmlformats.org/officeDocument/2006/relationships/tags" Target="../tags/tag13.xml"/><Relationship Id="rId19" Type="http://schemas.openxmlformats.org/officeDocument/2006/relationships/oleObject" Target="../embeddings/oleObject4.bin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slideMaster" Target="../slideMasters/slideMaster1.xml"/><Relationship Id="rId3" Type="http://schemas.openxmlformats.org/officeDocument/2006/relationships/tags" Target="../tags/tag22.xml"/><Relationship Id="rId21" Type="http://schemas.openxmlformats.org/officeDocument/2006/relationships/image" Target="../media/image8.png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0" Type="http://schemas.openxmlformats.org/officeDocument/2006/relationships/image" Target="../media/image7.emf"/><Relationship Id="rId1" Type="http://schemas.openxmlformats.org/officeDocument/2006/relationships/vmlDrawing" Target="../drawings/vmlDrawing5.v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10" Type="http://schemas.openxmlformats.org/officeDocument/2006/relationships/tags" Target="../tags/tag29.xml"/><Relationship Id="rId19" Type="http://schemas.openxmlformats.org/officeDocument/2006/relationships/oleObject" Target="../embeddings/oleObject5.bin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slideMaster" Target="../slideMasters/slideMaster1.xml"/><Relationship Id="rId3" Type="http://schemas.openxmlformats.org/officeDocument/2006/relationships/tags" Target="../tags/tag38.xml"/><Relationship Id="rId21" Type="http://schemas.openxmlformats.org/officeDocument/2006/relationships/image" Target="../media/image8.png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" Type="http://schemas.openxmlformats.org/officeDocument/2006/relationships/tags" Target="../tags/tag37.xml"/><Relationship Id="rId16" Type="http://schemas.openxmlformats.org/officeDocument/2006/relationships/tags" Target="../tags/tag51.xml"/><Relationship Id="rId20" Type="http://schemas.openxmlformats.org/officeDocument/2006/relationships/image" Target="../media/image7.emf"/><Relationship Id="rId1" Type="http://schemas.openxmlformats.org/officeDocument/2006/relationships/vmlDrawing" Target="../drawings/vmlDrawing6.v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5" Type="http://schemas.openxmlformats.org/officeDocument/2006/relationships/tags" Target="../tags/tag40.xml"/><Relationship Id="rId15" Type="http://schemas.openxmlformats.org/officeDocument/2006/relationships/tags" Target="../tags/tag50.xml"/><Relationship Id="rId10" Type="http://schemas.openxmlformats.org/officeDocument/2006/relationships/tags" Target="../tags/tag45.xml"/><Relationship Id="rId19" Type="http://schemas.openxmlformats.org/officeDocument/2006/relationships/oleObject" Target="../embeddings/oleObject6.bin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tags" Target="../tags/tag49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tags" Target="../tags/tag64.xml"/><Relationship Id="rId18" Type="http://schemas.openxmlformats.org/officeDocument/2006/relationships/slideMaster" Target="../slideMasters/slideMaster1.xml"/><Relationship Id="rId3" Type="http://schemas.openxmlformats.org/officeDocument/2006/relationships/tags" Target="../tags/tag54.xml"/><Relationship Id="rId21" Type="http://schemas.openxmlformats.org/officeDocument/2006/relationships/image" Target="../media/image8.png"/><Relationship Id="rId7" Type="http://schemas.openxmlformats.org/officeDocument/2006/relationships/tags" Target="../tags/tag58.xml"/><Relationship Id="rId12" Type="http://schemas.openxmlformats.org/officeDocument/2006/relationships/tags" Target="../tags/tag63.xml"/><Relationship Id="rId17" Type="http://schemas.openxmlformats.org/officeDocument/2006/relationships/tags" Target="../tags/tag68.xml"/><Relationship Id="rId2" Type="http://schemas.openxmlformats.org/officeDocument/2006/relationships/tags" Target="../tags/tag53.xml"/><Relationship Id="rId16" Type="http://schemas.openxmlformats.org/officeDocument/2006/relationships/tags" Target="../tags/tag67.xml"/><Relationship Id="rId20" Type="http://schemas.openxmlformats.org/officeDocument/2006/relationships/image" Target="../media/image7.emf"/><Relationship Id="rId1" Type="http://schemas.openxmlformats.org/officeDocument/2006/relationships/vmlDrawing" Target="../drawings/vmlDrawing7.vml"/><Relationship Id="rId6" Type="http://schemas.openxmlformats.org/officeDocument/2006/relationships/tags" Target="../tags/tag57.xml"/><Relationship Id="rId11" Type="http://schemas.openxmlformats.org/officeDocument/2006/relationships/tags" Target="../tags/tag62.xml"/><Relationship Id="rId5" Type="http://schemas.openxmlformats.org/officeDocument/2006/relationships/tags" Target="../tags/tag56.xml"/><Relationship Id="rId15" Type="http://schemas.openxmlformats.org/officeDocument/2006/relationships/tags" Target="../tags/tag66.xml"/><Relationship Id="rId10" Type="http://schemas.openxmlformats.org/officeDocument/2006/relationships/tags" Target="../tags/tag61.xml"/><Relationship Id="rId19" Type="http://schemas.openxmlformats.org/officeDocument/2006/relationships/oleObject" Target="../embeddings/oleObject7.bin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tags" Target="../tags/tag65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13" Type="http://schemas.openxmlformats.org/officeDocument/2006/relationships/tags" Target="../tags/tag80.xml"/><Relationship Id="rId18" Type="http://schemas.openxmlformats.org/officeDocument/2006/relationships/slideMaster" Target="../slideMasters/slideMaster1.xml"/><Relationship Id="rId3" Type="http://schemas.openxmlformats.org/officeDocument/2006/relationships/tags" Target="../tags/tag70.xml"/><Relationship Id="rId21" Type="http://schemas.openxmlformats.org/officeDocument/2006/relationships/image" Target="../media/image8.png"/><Relationship Id="rId7" Type="http://schemas.openxmlformats.org/officeDocument/2006/relationships/tags" Target="../tags/tag74.xml"/><Relationship Id="rId12" Type="http://schemas.openxmlformats.org/officeDocument/2006/relationships/tags" Target="../tags/tag79.xml"/><Relationship Id="rId17" Type="http://schemas.openxmlformats.org/officeDocument/2006/relationships/tags" Target="../tags/tag84.xml"/><Relationship Id="rId2" Type="http://schemas.openxmlformats.org/officeDocument/2006/relationships/tags" Target="../tags/tag69.xml"/><Relationship Id="rId16" Type="http://schemas.openxmlformats.org/officeDocument/2006/relationships/tags" Target="../tags/tag83.xml"/><Relationship Id="rId20" Type="http://schemas.openxmlformats.org/officeDocument/2006/relationships/image" Target="../media/image7.emf"/><Relationship Id="rId1" Type="http://schemas.openxmlformats.org/officeDocument/2006/relationships/vmlDrawing" Target="../drawings/vmlDrawing8.vml"/><Relationship Id="rId6" Type="http://schemas.openxmlformats.org/officeDocument/2006/relationships/tags" Target="../tags/tag73.xml"/><Relationship Id="rId11" Type="http://schemas.openxmlformats.org/officeDocument/2006/relationships/tags" Target="../tags/tag78.xml"/><Relationship Id="rId5" Type="http://schemas.openxmlformats.org/officeDocument/2006/relationships/tags" Target="../tags/tag72.xml"/><Relationship Id="rId15" Type="http://schemas.openxmlformats.org/officeDocument/2006/relationships/tags" Target="../tags/tag82.xml"/><Relationship Id="rId10" Type="http://schemas.openxmlformats.org/officeDocument/2006/relationships/tags" Target="../tags/tag77.xml"/><Relationship Id="rId19" Type="http://schemas.openxmlformats.org/officeDocument/2006/relationships/oleObject" Target="../embeddings/oleObject8.bin"/><Relationship Id="rId4" Type="http://schemas.openxmlformats.org/officeDocument/2006/relationships/tags" Target="../tags/tag71.xml"/><Relationship Id="rId9" Type="http://schemas.openxmlformats.org/officeDocument/2006/relationships/tags" Target="../tags/tag76.xml"/><Relationship Id="rId14" Type="http://schemas.openxmlformats.org/officeDocument/2006/relationships/tags" Target="../tags/tag8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tags" Target="../tags/tag96.xml"/><Relationship Id="rId18" Type="http://schemas.openxmlformats.org/officeDocument/2006/relationships/slideMaster" Target="../slideMasters/slideMaster1.xml"/><Relationship Id="rId3" Type="http://schemas.openxmlformats.org/officeDocument/2006/relationships/tags" Target="../tags/tag86.xml"/><Relationship Id="rId21" Type="http://schemas.openxmlformats.org/officeDocument/2006/relationships/image" Target="../media/image8.png"/><Relationship Id="rId7" Type="http://schemas.openxmlformats.org/officeDocument/2006/relationships/tags" Target="../tags/tag90.xml"/><Relationship Id="rId12" Type="http://schemas.openxmlformats.org/officeDocument/2006/relationships/tags" Target="../tags/tag95.xml"/><Relationship Id="rId17" Type="http://schemas.openxmlformats.org/officeDocument/2006/relationships/tags" Target="../tags/tag100.xml"/><Relationship Id="rId2" Type="http://schemas.openxmlformats.org/officeDocument/2006/relationships/tags" Target="../tags/tag85.xml"/><Relationship Id="rId16" Type="http://schemas.openxmlformats.org/officeDocument/2006/relationships/tags" Target="../tags/tag99.xml"/><Relationship Id="rId20" Type="http://schemas.openxmlformats.org/officeDocument/2006/relationships/image" Target="../media/image7.emf"/><Relationship Id="rId1" Type="http://schemas.openxmlformats.org/officeDocument/2006/relationships/vmlDrawing" Target="../drawings/vmlDrawing9.v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5" Type="http://schemas.openxmlformats.org/officeDocument/2006/relationships/tags" Target="../tags/tag88.xml"/><Relationship Id="rId15" Type="http://schemas.openxmlformats.org/officeDocument/2006/relationships/tags" Target="../tags/tag98.xml"/><Relationship Id="rId10" Type="http://schemas.openxmlformats.org/officeDocument/2006/relationships/tags" Target="../tags/tag93.xml"/><Relationship Id="rId19" Type="http://schemas.openxmlformats.org/officeDocument/2006/relationships/oleObject" Target="../embeddings/oleObject9.bin"/><Relationship Id="rId4" Type="http://schemas.openxmlformats.org/officeDocument/2006/relationships/tags" Target="../tags/tag87.xml"/><Relationship Id="rId9" Type="http://schemas.openxmlformats.org/officeDocument/2006/relationships/tags" Target="../tags/tag92.xml"/><Relationship Id="rId14" Type="http://schemas.openxmlformats.org/officeDocument/2006/relationships/tags" Target="../tags/tag9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tags" Target="../tags/tag112.xml"/><Relationship Id="rId18" Type="http://schemas.openxmlformats.org/officeDocument/2006/relationships/slideMaster" Target="../slideMasters/slideMaster1.xml"/><Relationship Id="rId3" Type="http://schemas.openxmlformats.org/officeDocument/2006/relationships/tags" Target="../tags/tag102.xml"/><Relationship Id="rId21" Type="http://schemas.openxmlformats.org/officeDocument/2006/relationships/image" Target="../media/image8.png"/><Relationship Id="rId7" Type="http://schemas.openxmlformats.org/officeDocument/2006/relationships/tags" Target="../tags/tag106.xml"/><Relationship Id="rId12" Type="http://schemas.openxmlformats.org/officeDocument/2006/relationships/tags" Target="../tags/tag111.xml"/><Relationship Id="rId17" Type="http://schemas.openxmlformats.org/officeDocument/2006/relationships/tags" Target="../tags/tag116.xml"/><Relationship Id="rId2" Type="http://schemas.openxmlformats.org/officeDocument/2006/relationships/tags" Target="../tags/tag101.xml"/><Relationship Id="rId16" Type="http://schemas.openxmlformats.org/officeDocument/2006/relationships/tags" Target="../tags/tag115.xml"/><Relationship Id="rId20" Type="http://schemas.openxmlformats.org/officeDocument/2006/relationships/image" Target="../media/image7.emf"/><Relationship Id="rId1" Type="http://schemas.openxmlformats.org/officeDocument/2006/relationships/vmlDrawing" Target="../drawings/vmlDrawing10.v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5" Type="http://schemas.openxmlformats.org/officeDocument/2006/relationships/tags" Target="../tags/tag104.xml"/><Relationship Id="rId15" Type="http://schemas.openxmlformats.org/officeDocument/2006/relationships/tags" Target="../tags/tag114.xml"/><Relationship Id="rId10" Type="http://schemas.openxmlformats.org/officeDocument/2006/relationships/tags" Target="../tags/tag109.xml"/><Relationship Id="rId19" Type="http://schemas.openxmlformats.org/officeDocument/2006/relationships/oleObject" Target="../embeddings/oleObject10.bin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tags" Target="../tags/tag11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tags" Target="../tags/tag123.xml"/><Relationship Id="rId13" Type="http://schemas.openxmlformats.org/officeDocument/2006/relationships/tags" Target="../tags/tag128.xml"/><Relationship Id="rId18" Type="http://schemas.openxmlformats.org/officeDocument/2006/relationships/slideMaster" Target="../slideMasters/slideMaster1.xml"/><Relationship Id="rId3" Type="http://schemas.openxmlformats.org/officeDocument/2006/relationships/tags" Target="../tags/tag118.xml"/><Relationship Id="rId21" Type="http://schemas.openxmlformats.org/officeDocument/2006/relationships/image" Target="../media/image8.png"/><Relationship Id="rId7" Type="http://schemas.openxmlformats.org/officeDocument/2006/relationships/tags" Target="../tags/tag122.xml"/><Relationship Id="rId12" Type="http://schemas.openxmlformats.org/officeDocument/2006/relationships/tags" Target="../tags/tag127.xml"/><Relationship Id="rId17" Type="http://schemas.openxmlformats.org/officeDocument/2006/relationships/tags" Target="../tags/tag132.xml"/><Relationship Id="rId2" Type="http://schemas.openxmlformats.org/officeDocument/2006/relationships/tags" Target="../tags/tag117.xml"/><Relationship Id="rId16" Type="http://schemas.openxmlformats.org/officeDocument/2006/relationships/tags" Target="../tags/tag131.xml"/><Relationship Id="rId20" Type="http://schemas.openxmlformats.org/officeDocument/2006/relationships/image" Target="../media/image7.emf"/><Relationship Id="rId1" Type="http://schemas.openxmlformats.org/officeDocument/2006/relationships/vmlDrawing" Target="../drawings/vmlDrawing11.vml"/><Relationship Id="rId6" Type="http://schemas.openxmlformats.org/officeDocument/2006/relationships/tags" Target="../tags/tag121.xml"/><Relationship Id="rId11" Type="http://schemas.openxmlformats.org/officeDocument/2006/relationships/tags" Target="../tags/tag126.xml"/><Relationship Id="rId5" Type="http://schemas.openxmlformats.org/officeDocument/2006/relationships/tags" Target="../tags/tag120.xml"/><Relationship Id="rId15" Type="http://schemas.openxmlformats.org/officeDocument/2006/relationships/tags" Target="../tags/tag130.xml"/><Relationship Id="rId10" Type="http://schemas.openxmlformats.org/officeDocument/2006/relationships/tags" Target="../tags/tag125.xml"/><Relationship Id="rId19" Type="http://schemas.openxmlformats.org/officeDocument/2006/relationships/oleObject" Target="../embeddings/oleObject11.bin"/><Relationship Id="rId4" Type="http://schemas.openxmlformats.org/officeDocument/2006/relationships/tags" Target="../tags/tag119.xml"/><Relationship Id="rId9" Type="http://schemas.openxmlformats.org/officeDocument/2006/relationships/tags" Target="../tags/tag124.xml"/><Relationship Id="rId14" Type="http://schemas.openxmlformats.org/officeDocument/2006/relationships/tags" Target="../tags/tag12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resenta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5"/>
          <p:cNvGrpSpPr>
            <a:grpSpLocks noChangeAspect="1"/>
          </p:cNvGrpSpPr>
          <p:nvPr userDrawn="1"/>
        </p:nvGrpSpPr>
        <p:grpSpPr bwMode="auto">
          <a:xfrm>
            <a:off x="7582562" y="5249863"/>
            <a:ext cx="1950244" cy="1389062"/>
            <a:chOff x="4492625" y="2695575"/>
            <a:chExt cx="2895601" cy="2233613"/>
          </a:xfrm>
        </p:grpSpPr>
        <p:sp>
          <p:nvSpPr>
            <p:cNvPr id="5" name="Freeform 14"/>
            <p:cNvSpPr>
              <a:spLocks/>
            </p:cNvSpPr>
            <p:nvPr/>
          </p:nvSpPr>
          <p:spPr bwMode="auto">
            <a:xfrm>
              <a:off x="6450013" y="3100388"/>
              <a:ext cx="674688" cy="727075"/>
            </a:xfrm>
            <a:custGeom>
              <a:avLst/>
              <a:gdLst>
                <a:gd name="T0" fmla="*/ 2147483647 w 180"/>
                <a:gd name="T1" fmla="*/ 2147483647 h 194"/>
                <a:gd name="T2" fmla="*/ 2147483647 w 180"/>
                <a:gd name="T3" fmla="*/ 2147483647 h 194"/>
                <a:gd name="T4" fmla="*/ 2147483647 w 180"/>
                <a:gd name="T5" fmla="*/ 2147483647 h 194"/>
                <a:gd name="T6" fmla="*/ 2147483647 w 180"/>
                <a:gd name="T7" fmla="*/ 2147483647 h 194"/>
                <a:gd name="T8" fmla="*/ 2147483647 w 180"/>
                <a:gd name="T9" fmla="*/ 2147483647 h 194"/>
                <a:gd name="T10" fmla="*/ 2147483647 w 180"/>
                <a:gd name="T11" fmla="*/ 2147483647 h 194"/>
                <a:gd name="T12" fmla="*/ 2147483647 w 180"/>
                <a:gd name="T13" fmla="*/ 2147483647 h 194"/>
                <a:gd name="T14" fmla="*/ 2147483647 w 180"/>
                <a:gd name="T15" fmla="*/ 2147483647 h 194"/>
                <a:gd name="T16" fmla="*/ 0 w 180"/>
                <a:gd name="T17" fmla="*/ 2147483647 h 194"/>
                <a:gd name="T18" fmla="*/ 2147483647 w 180"/>
                <a:gd name="T19" fmla="*/ 2147483647 h 194"/>
                <a:gd name="T20" fmla="*/ 2147483647 w 180"/>
                <a:gd name="T21" fmla="*/ 2147483647 h 194"/>
                <a:gd name="T22" fmla="*/ 2147483647 w 180"/>
                <a:gd name="T23" fmla="*/ 2147483647 h 194"/>
                <a:gd name="T24" fmla="*/ 2147483647 w 180"/>
                <a:gd name="T25" fmla="*/ 2147483647 h 194"/>
                <a:gd name="T26" fmla="*/ 2147483647 w 180"/>
                <a:gd name="T27" fmla="*/ 2147483647 h 194"/>
                <a:gd name="T28" fmla="*/ 2147483647 w 180"/>
                <a:gd name="T29" fmla="*/ 2147483647 h 194"/>
                <a:gd name="T30" fmla="*/ 2147483647 w 180"/>
                <a:gd name="T31" fmla="*/ 2147483647 h 194"/>
                <a:gd name="T32" fmla="*/ 2147483647 w 180"/>
                <a:gd name="T33" fmla="*/ 2147483647 h 194"/>
                <a:gd name="T34" fmla="*/ 2147483647 w 180"/>
                <a:gd name="T35" fmla="*/ 2147483647 h 194"/>
                <a:gd name="T36" fmla="*/ 2147483647 w 180"/>
                <a:gd name="T37" fmla="*/ 2147483647 h 194"/>
                <a:gd name="T38" fmla="*/ 2147483647 w 180"/>
                <a:gd name="T39" fmla="*/ 2147483647 h 19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80" h="194">
                  <a:moveTo>
                    <a:pt x="135" y="1"/>
                  </a:moveTo>
                  <a:cubicBezTo>
                    <a:pt x="104" y="0"/>
                    <a:pt x="72" y="18"/>
                    <a:pt x="51" y="42"/>
                  </a:cubicBezTo>
                  <a:cubicBezTo>
                    <a:pt x="45" y="48"/>
                    <a:pt x="40" y="57"/>
                    <a:pt x="36" y="65"/>
                  </a:cubicBezTo>
                  <a:cubicBezTo>
                    <a:pt x="25" y="91"/>
                    <a:pt x="44" y="115"/>
                    <a:pt x="65" y="127"/>
                  </a:cubicBezTo>
                  <a:cubicBezTo>
                    <a:pt x="74" y="132"/>
                    <a:pt x="84" y="137"/>
                    <a:pt x="88" y="147"/>
                  </a:cubicBezTo>
                  <a:cubicBezTo>
                    <a:pt x="89" y="151"/>
                    <a:pt x="90" y="157"/>
                    <a:pt x="87" y="161"/>
                  </a:cubicBezTo>
                  <a:cubicBezTo>
                    <a:pt x="76" y="176"/>
                    <a:pt x="35" y="169"/>
                    <a:pt x="24" y="163"/>
                  </a:cubicBezTo>
                  <a:cubicBezTo>
                    <a:pt x="16" y="159"/>
                    <a:pt x="10" y="154"/>
                    <a:pt x="3" y="150"/>
                  </a:cubicBezTo>
                  <a:cubicBezTo>
                    <a:pt x="3" y="150"/>
                    <a:pt x="0" y="149"/>
                    <a:pt x="0" y="153"/>
                  </a:cubicBezTo>
                  <a:cubicBezTo>
                    <a:pt x="0" y="155"/>
                    <a:pt x="0" y="158"/>
                    <a:pt x="2" y="161"/>
                  </a:cubicBezTo>
                  <a:cubicBezTo>
                    <a:pt x="5" y="167"/>
                    <a:pt x="11" y="172"/>
                    <a:pt x="17" y="176"/>
                  </a:cubicBezTo>
                  <a:cubicBezTo>
                    <a:pt x="38" y="190"/>
                    <a:pt x="67" y="194"/>
                    <a:pt x="94" y="190"/>
                  </a:cubicBezTo>
                  <a:cubicBezTo>
                    <a:pt x="136" y="184"/>
                    <a:pt x="142" y="148"/>
                    <a:pt x="117" y="125"/>
                  </a:cubicBezTo>
                  <a:cubicBezTo>
                    <a:pt x="99" y="107"/>
                    <a:pt x="80" y="96"/>
                    <a:pt x="90" y="68"/>
                  </a:cubicBezTo>
                  <a:cubicBezTo>
                    <a:pt x="93" y="60"/>
                    <a:pt x="100" y="51"/>
                    <a:pt x="106" y="46"/>
                  </a:cubicBezTo>
                  <a:cubicBezTo>
                    <a:pt x="118" y="35"/>
                    <a:pt x="156" y="11"/>
                    <a:pt x="161" y="39"/>
                  </a:cubicBezTo>
                  <a:cubicBezTo>
                    <a:pt x="162" y="45"/>
                    <a:pt x="162" y="47"/>
                    <a:pt x="165" y="51"/>
                  </a:cubicBezTo>
                  <a:cubicBezTo>
                    <a:pt x="167" y="54"/>
                    <a:pt x="173" y="58"/>
                    <a:pt x="178" y="53"/>
                  </a:cubicBezTo>
                  <a:cubicBezTo>
                    <a:pt x="178" y="53"/>
                    <a:pt x="180" y="37"/>
                    <a:pt x="178" y="31"/>
                  </a:cubicBezTo>
                  <a:cubicBezTo>
                    <a:pt x="174" y="15"/>
                    <a:pt x="142" y="1"/>
                    <a:pt x="135" y="1"/>
                  </a:cubicBezTo>
                </a:path>
              </a:pathLst>
            </a:custGeom>
            <a:solidFill>
              <a:srgbClr val="767A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dirty="0"/>
            </a:p>
          </p:txBody>
        </p:sp>
        <p:sp>
          <p:nvSpPr>
            <p:cNvPr id="6" name="Freeform 15"/>
            <p:cNvSpPr>
              <a:spLocks/>
            </p:cNvSpPr>
            <p:nvPr/>
          </p:nvSpPr>
          <p:spPr bwMode="auto">
            <a:xfrm>
              <a:off x="4492625" y="2695575"/>
              <a:ext cx="773113" cy="1173163"/>
            </a:xfrm>
            <a:custGeom>
              <a:avLst/>
              <a:gdLst>
                <a:gd name="T0" fmla="*/ 2147483647 w 206"/>
                <a:gd name="T1" fmla="*/ 2147483647 h 313"/>
                <a:gd name="T2" fmla="*/ 2147483647 w 206"/>
                <a:gd name="T3" fmla="*/ 2147483647 h 313"/>
                <a:gd name="T4" fmla="*/ 2147483647 w 206"/>
                <a:gd name="T5" fmla="*/ 2147483647 h 313"/>
                <a:gd name="T6" fmla="*/ 2147483647 w 206"/>
                <a:gd name="T7" fmla="*/ 2147483647 h 313"/>
                <a:gd name="T8" fmla="*/ 2147483647 w 206"/>
                <a:gd name="T9" fmla="*/ 2147483647 h 313"/>
                <a:gd name="T10" fmla="*/ 2147483647 w 206"/>
                <a:gd name="T11" fmla="*/ 2147483647 h 313"/>
                <a:gd name="T12" fmla="*/ 2147483647 w 206"/>
                <a:gd name="T13" fmla="*/ 2147483647 h 313"/>
                <a:gd name="T14" fmla="*/ 2147483647 w 206"/>
                <a:gd name="T15" fmla="*/ 2147483647 h 313"/>
                <a:gd name="T16" fmla="*/ 2147483647 w 206"/>
                <a:gd name="T17" fmla="*/ 2147483647 h 313"/>
                <a:gd name="T18" fmla="*/ 2147483647 w 206"/>
                <a:gd name="T19" fmla="*/ 2147483647 h 313"/>
                <a:gd name="T20" fmla="*/ 2147483647 w 206"/>
                <a:gd name="T21" fmla="*/ 2147483647 h 313"/>
                <a:gd name="T22" fmla="*/ 2147483647 w 206"/>
                <a:gd name="T23" fmla="*/ 2147483647 h 313"/>
                <a:gd name="T24" fmla="*/ 2147483647 w 206"/>
                <a:gd name="T25" fmla="*/ 2147483647 h 313"/>
                <a:gd name="T26" fmla="*/ 2147483647 w 206"/>
                <a:gd name="T27" fmla="*/ 2147483647 h 313"/>
                <a:gd name="T28" fmla="*/ 2147483647 w 206"/>
                <a:gd name="T29" fmla="*/ 2147483647 h 31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6" h="313">
                  <a:moveTo>
                    <a:pt x="181" y="275"/>
                  </a:moveTo>
                  <a:cubicBezTo>
                    <a:pt x="145" y="266"/>
                    <a:pt x="95" y="279"/>
                    <a:pt x="62" y="282"/>
                  </a:cubicBezTo>
                  <a:cubicBezTo>
                    <a:pt x="91" y="228"/>
                    <a:pt x="143" y="135"/>
                    <a:pt x="171" y="86"/>
                  </a:cubicBezTo>
                  <a:cubicBezTo>
                    <a:pt x="178" y="73"/>
                    <a:pt x="189" y="51"/>
                    <a:pt x="196" y="37"/>
                  </a:cubicBezTo>
                  <a:cubicBezTo>
                    <a:pt x="196" y="37"/>
                    <a:pt x="198" y="33"/>
                    <a:pt x="195" y="26"/>
                  </a:cubicBezTo>
                  <a:cubicBezTo>
                    <a:pt x="192" y="19"/>
                    <a:pt x="177" y="3"/>
                    <a:pt x="175" y="1"/>
                  </a:cubicBezTo>
                  <a:cubicBezTo>
                    <a:pt x="174" y="0"/>
                    <a:pt x="171" y="0"/>
                    <a:pt x="169" y="2"/>
                  </a:cubicBezTo>
                  <a:cubicBezTo>
                    <a:pt x="163" y="10"/>
                    <a:pt x="152" y="24"/>
                    <a:pt x="150" y="27"/>
                  </a:cubicBezTo>
                  <a:cubicBezTo>
                    <a:pt x="145" y="34"/>
                    <a:pt x="87" y="116"/>
                    <a:pt x="75" y="136"/>
                  </a:cubicBezTo>
                  <a:cubicBezTo>
                    <a:pt x="70" y="145"/>
                    <a:pt x="48" y="180"/>
                    <a:pt x="43" y="190"/>
                  </a:cubicBezTo>
                  <a:cubicBezTo>
                    <a:pt x="29" y="216"/>
                    <a:pt x="19" y="236"/>
                    <a:pt x="10" y="255"/>
                  </a:cubicBezTo>
                  <a:cubicBezTo>
                    <a:pt x="0" y="283"/>
                    <a:pt x="25" y="300"/>
                    <a:pt x="34" y="307"/>
                  </a:cubicBezTo>
                  <a:cubicBezTo>
                    <a:pt x="34" y="307"/>
                    <a:pt x="43" y="313"/>
                    <a:pt x="46" y="313"/>
                  </a:cubicBezTo>
                  <a:cubicBezTo>
                    <a:pt x="67" y="313"/>
                    <a:pt x="157" y="293"/>
                    <a:pt x="202" y="293"/>
                  </a:cubicBezTo>
                  <a:cubicBezTo>
                    <a:pt x="206" y="292"/>
                    <a:pt x="192" y="282"/>
                    <a:pt x="181" y="275"/>
                  </a:cubicBezTo>
                </a:path>
              </a:pathLst>
            </a:custGeom>
            <a:solidFill>
              <a:srgbClr val="767A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dirty="0"/>
            </a:p>
          </p:txBody>
        </p:sp>
        <p:sp>
          <p:nvSpPr>
            <p:cNvPr id="7" name="Freeform 16"/>
            <p:cNvSpPr>
              <a:spLocks noEditPoints="1"/>
            </p:cNvSpPr>
            <p:nvPr/>
          </p:nvSpPr>
          <p:spPr bwMode="auto">
            <a:xfrm>
              <a:off x="5205413" y="2778125"/>
              <a:ext cx="1349375" cy="1109663"/>
            </a:xfrm>
            <a:custGeom>
              <a:avLst/>
              <a:gdLst>
                <a:gd name="T0" fmla="*/ 2147483647 w 360"/>
                <a:gd name="T1" fmla="*/ 2147483647 h 296"/>
                <a:gd name="T2" fmla="*/ 2147483647 w 360"/>
                <a:gd name="T3" fmla="*/ 2147483647 h 296"/>
                <a:gd name="T4" fmla="*/ 2147483647 w 360"/>
                <a:gd name="T5" fmla="*/ 2147483647 h 296"/>
                <a:gd name="T6" fmla="*/ 2147483647 w 360"/>
                <a:gd name="T7" fmla="*/ 2147483647 h 296"/>
                <a:gd name="T8" fmla="*/ 2147483647 w 360"/>
                <a:gd name="T9" fmla="*/ 2147483647 h 296"/>
                <a:gd name="T10" fmla="*/ 2147483647 w 360"/>
                <a:gd name="T11" fmla="*/ 2147483647 h 296"/>
                <a:gd name="T12" fmla="*/ 2147483647 w 360"/>
                <a:gd name="T13" fmla="*/ 2147483647 h 296"/>
                <a:gd name="T14" fmla="*/ 2147483647 w 360"/>
                <a:gd name="T15" fmla="*/ 2147483647 h 296"/>
                <a:gd name="T16" fmla="*/ 2147483647 w 360"/>
                <a:gd name="T17" fmla="*/ 2147483647 h 296"/>
                <a:gd name="T18" fmla="*/ 2147483647 w 360"/>
                <a:gd name="T19" fmla="*/ 2147483647 h 296"/>
                <a:gd name="T20" fmla="*/ 2147483647 w 360"/>
                <a:gd name="T21" fmla="*/ 2147483647 h 296"/>
                <a:gd name="T22" fmla="*/ 2147483647 w 360"/>
                <a:gd name="T23" fmla="*/ 2147483647 h 296"/>
                <a:gd name="T24" fmla="*/ 2147483647 w 360"/>
                <a:gd name="T25" fmla="*/ 2147483647 h 296"/>
                <a:gd name="T26" fmla="*/ 2147483647 w 360"/>
                <a:gd name="T27" fmla="*/ 2147483647 h 296"/>
                <a:gd name="T28" fmla="*/ 2147483647 w 360"/>
                <a:gd name="T29" fmla="*/ 2147483647 h 296"/>
                <a:gd name="T30" fmla="*/ 2147483647 w 360"/>
                <a:gd name="T31" fmla="*/ 2147483647 h 296"/>
                <a:gd name="T32" fmla="*/ 2147483647 w 360"/>
                <a:gd name="T33" fmla="*/ 2147483647 h 296"/>
                <a:gd name="T34" fmla="*/ 2147483647 w 360"/>
                <a:gd name="T35" fmla="*/ 2147483647 h 296"/>
                <a:gd name="T36" fmla="*/ 2147483647 w 360"/>
                <a:gd name="T37" fmla="*/ 2147483647 h 296"/>
                <a:gd name="T38" fmla="*/ 2147483647 w 360"/>
                <a:gd name="T39" fmla="*/ 2147483647 h 296"/>
                <a:gd name="T40" fmla="*/ 2147483647 w 360"/>
                <a:gd name="T41" fmla="*/ 2147483647 h 296"/>
                <a:gd name="T42" fmla="*/ 2147483647 w 360"/>
                <a:gd name="T43" fmla="*/ 2147483647 h 296"/>
                <a:gd name="T44" fmla="*/ 2147483647 w 360"/>
                <a:gd name="T45" fmla="*/ 2147483647 h 296"/>
                <a:gd name="T46" fmla="*/ 2147483647 w 360"/>
                <a:gd name="T47" fmla="*/ 2147483647 h 296"/>
                <a:gd name="T48" fmla="*/ 2147483647 w 360"/>
                <a:gd name="T49" fmla="*/ 2147483647 h 296"/>
                <a:gd name="T50" fmla="*/ 2147483647 w 360"/>
                <a:gd name="T51" fmla="*/ 2147483647 h 296"/>
                <a:gd name="T52" fmla="*/ 2147483647 w 360"/>
                <a:gd name="T53" fmla="*/ 2147483647 h 296"/>
                <a:gd name="T54" fmla="*/ 2147483647 w 360"/>
                <a:gd name="T55" fmla="*/ 2147483647 h 296"/>
                <a:gd name="T56" fmla="*/ 2147483647 w 360"/>
                <a:gd name="T57" fmla="*/ 2147483647 h 296"/>
                <a:gd name="T58" fmla="*/ 2147483647 w 360"/>
                <a:gd name="T59" fmla="*/ 2147483647 h 296"/>
                <a:gd name="T60" fmla="*/ 2147483647 w 360"/>
                <a:gd name="T61" fmla="*/ 2147483647 h 296"/>
                <a:gd name="T62" fmla="*/ 2147483647 w 360"/>
                <a:gd name="T63" fmla="*/ 2147483647 h 296"/>
                <a:gd name="T64" fmla="*/ 2147483647 w 360"/>
                <a:gd name="T65" fmla="*/ 2147483647 h 29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360" h="296">
                  <a:moveTo>
                    <a:pt x="356" y="99"/>
                  </a:moveTo>
                  <a:cubicBezTo>
                    <a:pt x="358" y="99"/>
                    <a:pt x="360" y="97"/>
                    <a:pt x="359" y="94"/>
                  </a:cubicBezTo>
                  <a:cubicBezTo>
                    <a:pt x="352" y="87"/>
                    <a:pt x="332" y="85"/>
                    <a:pt x="308" y="85"/>
                  </a:cubicBezTo>
                  <a:cubicBezTo>
                    <a:pt x="313" y="76"/>
                    <a:pt x="326" y="57"/>
                    <a:pt x="329" y="51"/>
                  </a:cubicBezTo>
                  <a:cubicBezTo>
                    <a:pt x="333" y="40"/>
                    <a:pt x="332" y="35"/>
                    <a:pt x="330" y="31"/>
                  </a:cubicBezTo>
                  <a:cubicBezTo>
                    <a:pt x="325" y="23"/>
                    <a:pt x="307" y="4"/>
                    <a:pt x="304" y="2"/>
                  </a:cubicBezTo>
                  <a:cubicBezTo>
                    <a:pt x="303" y="0"/>
                    <a:pt x="299" y="0"/>
                    <a:pt x="299" y="3"/>
                  </a:cubicBezTo>
                  <a:cubicBezTo>
                    <a:pt x="299" y="7"/>
                    <a:pt x="299" y="8"/>
                    <a:pt x="297" y="12"/>
                  </a:cubicBezTo>
                  <a:cubicBezTo>
                    <a:pt x="295" y="19"/>
                    <a:pt x="254" y="85"/>
                    <a:pt x="254" y="85"/>
                  </a:cubicBezTo>
                  <a:cubicBezTo>
                    <a:pt x="209" y="85"/>
                    <a:pt x="209" y="85"/>
                    <a:pt x="209" y="85"/>
                  </a:cubicBezTo>
                  <a:cubicBezTo>
                    <a:pt x="209" y="85"/>
                    <a:pt x="203" y="85"/>
                    <a:pt x="205" y="89"/>
                  </a:cubicBezTo>
                  <a:cubicBezTo>
                    <a:pt x="206" y="93"/>
                    <a:pt x="213" y="100"/>
                    <a:pt x="213" y="100"/>
                  </a:cubicBezTo>
                  <a:cubicBezTo>
                    <a:pt x="227" y="100"/>
                    <a:pt x="245" y="100"/>
                    <a:pt x="245" y="100"/>
                  </a:cubicBezTo>
                  <a:cubicBezTo>
                    <a:pt x="245" y="100"/>
                    <a:pt x="213" y="155"/>
                    <a:pt x="198" y="182"/>
                  </a:cubicBezTo>
                  <a:cubicBezTo>
                    <a:pt x="194" y="189"/>
                    <a:pt x="191" y="195"/>
                    <a:pt x="185" y="201"/>
                  </a:cubicBezTo>
                  <a:cubicBezTo>
                    <a:pt x="172" y="216"/>
                    <a:pt x="120" y="268"/>
                    <a:pt x="76" y="244"/>
                  </a:cubicBezTo>
                  <a:cubicBezTo>
                    <a:pt x="64" y="237"/>
                    <a:pt x="65" y="213"/>
                    <a:pt x="71" y="196"/>
                  </a:cubicBezTo>
                  <a:cubicBezTo>
                    <a:pt x="71" y="196"/>
                    <a:pt x="99" y="214"/>
                    <a:pt x="135" y="193"/>
                  </a:cubicBezTo>
                  <a:cubicBezTo>
                    <a:pt x="183" y="166"/>
                    <a:pt x="210" y="114"/>
                    <a:pt x="170" y="95"/>
                  </a:cubicBezTo>
                  <a:cubicBezTo>
                    <a:pt x="135" y="77"/>
                    <a:pt x="95" y="95"/>
                    <a:pt x="59" y="131"/>
                  </a:cubicBezTo>
                  <a:cubicBezTo>
                    <a:pt x="7" y="185"/>
                    <a:pt x="0" y="257"/>
                    <a:pt x="41" y="276"/>
                  </a:cubicBezTo>
                  <a:cubicBezTo>
                    <a:pt x="87" y="296"/>
                    <a:pt x="146" y="263"/>
                    <a:pt x="179" y="227"/>
                  </a:cubicBezTo>
                  <a:cubicBezTo>
                    <a:pt x="179" y="230"/>
                    <a:pt x="178" y="234"/>
                    <a:pt x="178" y="237"/>
                  </a:cubicBezTo>
                  <a:cubicBezTo>
                    <a:pt x="178" y="248"/>
                    <a:pt x="180" y="263"/>
                    <a:pt x="190" y="270"/>
                  </a:cubicBezTo>
                  <a:cubicBezTo>
                    <a:pt x="223" y="293"/>
                    <a:pt x="273" y="248"/>
                    <a:pt x="292" y="221"/>
                  </a:cubicBezTo>
                  <a:cubicBezTo>
                    <a:pt x="295" y="218"/>
                    <a:pt x="281" y="218"/>
                    <a:pt x="278" y="220"/>
                  </a:cubicBezTo>
                  <a:cubicBezTo>
                    <a:pt x="266" y="229"/>
                    <a:pt x="241" y="255"/>
                    <a:pt x="232" y="247"/>
                  </a:cubicBezTo>
                  <a:cubicBezTo>
                    <a:pt x="222" y="237"/>
                    <a:pt x="266" y="151"/>
                    <a:pt x="298" y="100"/>
                  </a:cubicBezTo>
                  <a:cubicBezTo>
                    <a:pt x="318" y="98"/>
                    <a:pt x="344" y="100"/>
                    <a:pt x="356" y="99"/>
                  </a:cubicBezTo>
                  <a:moveTo>
                    <a:pt x="157" y="106"/>
                  </a:moveTo>
                  <a:cubicBezTo>
                    <a:pt x="167" y="109"/>
                    <a:pt x="145" y="149"/>
                    <a:pt x="131" y="163"/>
                  </a:cubicBezTo>
                  <a:cubicBezTo>
                    <a:pt x="105" y="189"/>
                    <a:pt x="74" y="184"/>
                    <a:pt x="74" y="184"/>
                  </a:cubicBezTo>
                  <a:cubicBezTo>
                    <a:pt x="86" y="146"/>
                    <a:pt x="141" y="103"/>
                    <a:pt x="157" y="106"/>
                  </a:cubicBezTo>
                </a:path>
              </a:pathLst>
            </a:custGeom>
            <a:solidFill>
              <a:srgbClr val="767A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dirty="0"/>
            </a:p>
          </p:txBody>
        </p:sp>
        <p:sp>
          <p:nvSpPr>
            <p:cNvPr id="8" name="Freeform 17"/>
            <p:cNvSpPr>
              <a:spLocks/>
            </p:cNvSpPr>
            <p:nvPr/>
          </p:nvSpPr>
          <p:spPr bwMode="auto">
            <a:xfrm>
              <a:off x="6942138" y="3554413"/>
              <a:ext cx="446088" cy="857250"/>
            </a:xfrm>
            <a:custGeom>
              <a:avLst/>
              <a:gdLst>
                <a:gd name="T0" fmla="*/ 2147483647 w 119"/>
                <a:gd name="T1" fmla="*/ 2147483647 h 229"/>
                <a:gd name="T2" fmla="*/ 2147483647 w 119"/>
                <a:gd name="T3" fmla="*/ 0 h 229"/>
                <a:gd name="T4" fmla="*/ 2147483647 w 119"/>
                <a:gd name="T5" fmla="*/ 2147483647 h 229"/>
                <a:gd name="T6" fmla="*/ 2147483647 w 119"/>
                <a:gd name="T7" fmla="*/ 2147483647 h 229"/>
                <a:gd name="T8" fmla="*/ 2147483647 w 119"/>
                <a:gd name="T9" fmla="*/ 2147483647 h 229"/>
                <a:gd name="T10" fmla="*/ 2147483647 w 119"/>
                <a:gd name="T11" fmla="*/ 2147483647 h 229"/>
                <a:gd name="T12" fmla="*/ 2147483647 w 119"/>
                <a:gd name="T13" fmla="*/ 2147483647 h 2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19" h="229">
                  <a:moveTo>
                    <a:pt x="116" y="26"/>
                  </a:moveTo>
                  <a:cubicBezTo>
                    <a:pt x="109" y="16"/>
                    <a:pt x="84" y="2"/>
                    <a:pt x="74" y="0"/>
                  </a:cubicBezTo>
                  <a:cubicBezTo>
                    <a:pt x="56" y="44"/>
                    <a:pt x="29" y="104"/>
                    <a:pt x="9" y="169"/>
                  </a:cubicBezTo>
                  <a:cubicBezTo>
                    <a:pt x="3" y="189"/>
                    <a:pt x="0" y="214"/>
                    <a:pt x="12" y="223"/>
                  </a:cubicBezTo>
                  <a:cubicBezTo>
                    <a:pt x="20" y="229"/>
                    <a:pt x="23" y="221"/>
                    <a:pt x="26" y="214"/>
                  </a:cubicBezTo>
                  <a:cubicBezTo>
                    <a:pt x="54" y="152"/>
                    <a:pt x="107" y="63"/>
                    <a:pt x="111" y="56"/>
                  </a:cubicBezTo>
                  <a:cubicBezTo>
                    <a:pt x="119" y="42"/>
                    <a:pt x="119" y="30"/>
                    <a:pt x="116" y="26"/>
                  </a:cubicBezTo>
                </a:path>
              </a:pathLst>
            </a:custGeom>
            <a:solidFill>
              <a:srgbClr val="767A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dirty="0"/>
            </a:p>
          </p:txBody>
        </p:sp>
        <p:sp>
          <p:nvSpPr>
            <p:cNvPr id="9" name="Oval 18"/>
            <p:cNvSpPr>
              <a:spLocks noChangeArrowheads="1"/>
            </p:cNvSpPr>
            <p:nvPr/>
          </p:nvSpPr>
          <p:spPr bwMode="auto">
            <a:xfrm>
              <a:off x="6821362" y="4456939"/>
              <a:ext cx="196614" cy="196557"/>
            </a:xfrm>
            <a:prstGeom prst="ellipse">
              <a:avLst/>
            </a:prstGeom>
            <a:solidFill>
              <a:srgbClr val="767A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defRPr/>
              </a:pPr>
              <a:endParaRPr lang="en-GB" dirty="0" smtClean="0">
                <a:solidFill>
                  <a:srgbClr val="6C6F70"/>
                </a:solidFill>
              </a:endParaRPr>
            </a:p>
          </p:txBody>
        </p:sp>
        <p:sp>
          <p:nvSpPr>
            <p:cNvPr id="10" name="Freeform 19"/>
            <p:cNvSpPr>
              <a:spLocks/>
            </p:cNvSpPr>
            <p:nvPr/>
          </p:nvSpPr>
          <p:spPr bwMode="auto">
            <a:xfrm>
              <a:off x="6532563" y="2725738"/>
              <a:ext cx="236538" cy="276225"/>
            </a:xfrm>
            <a:custGeom>
              <a:avLst/>
              <a:gdLst>
                <a:gd name="T0" fmla="*/ 2147483647 w 63"/>
                <a:gd name="T1" fmla="*/ 2147483647 h 74"/>
                <a:gd name="T2" fmla="*/ 2147483647 w 63"/>
                <a:gd name="T3" fmla="*/ 2147483647 h 74"/>
                <a:gd name="T4" fmla="*/ 2147483647 w 63"/>
                <a:gd name="T5" fmla="*/ 2147483647 h 74"/>
                <a:gd name="T6" fmla="*/ 2147483647 w 63"/>
                <a:gd name="T7" fmla="*/ 2147483647 h 74"/>
                <a:gd name="T8" fmla="*/ 2147483647 w 63"/>
                <a:gd name="T9" fmla="*/ 2147483647 h 74"/>
                <a:gd name="T10" fmla="*/ 2147483647 w 63"/>
                <a:gd name="T11" fmla="*/ 2147483647 h 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3" h="74">
                  <a:moveTo>
                    <a:pt x="11" y="74"/>
                  </a:moveTo>
                  <a:cubicBezTo>
                    <a:pt x="36" y="74"/>
                    <a:pt x="59" y="61"/>
                    <a:pt x="63" y="30"/>
                  </a:cubicBezTo>
                  <a:cubicBezTo>
                    <a:pt x="63" y="27"/>
                    <a:pt x="63" y="9"/>
                    <a:pt x="45" y="6"/>
                  </a:cubicBezTo>
                  <a:cubicBezTo>
                    <a:pt x="10" y="0"/>
                    <a:pt x="2" y="45"/>
                    <a:pt x="30" y="52"/>
                  </a:cubicBezTo>
                  <a:cubicBezTo>
                    <a:pt x="25" y="63"/>
                    <a:pt x="14" y="66"/>
                    <a:pt x="4" y="68"/>
                  </a:cubicBezTo>
                  <a:cubicBezTo>
                    <a:pt x="0" y="69"/>
                    <a:pt x="7" y="74"/>
                    <a:pt x="11" y="74"/>
                  </a:cubicBezTo>
                </a:path>
              </a:pathLst>
            </a:custGeom>
            <a:solidFill>
              <a:srgbClr val="767A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dirty="0"/>
            </a:p>
          </p:txBody>
        </p:sp>
        <p:sp>
          <p:nvSpPr>
            <p:cNvPr id="11" name="Freeform 20"/>
            <p:cNvSpPr>
              <a:spLocks noEditPoints="1"/>
            </p:cNvSpPr>
            <p:nvPr/>
          </p:nvSpPr>
          <p:spPr bwMode="auto">
            <a:xfrm>
              <a:off x="5899150" y="3789363"/>
              <a:ext cx="1158875" cy="952500"/>
            </a:xfrm>
            <a:custGeom>
              <a:avLst/>
              <a:gdLst>
                <a:gd name="T0" fmla="*/ 2147483647 w 309"/>
                <a:gd name="T1" fmla="*/ 2147483647 h 254"/>
                <a:gd name="T2" fmla="*/ 2147483647 w 309"/>
                <a:gd name="T3" fmla="*/ 2147483647 h 254"/>
                <a:gd name="T4" fmla="*/ 2147483647 w 309"/>
                <a:gd name="T5" fmla="*/ 2147483647 h 254"/>
                <a:gd name="T6" fmla="*/ 2147483647 w 309"/>
                <a:gd name="T7" fmla="*/ 2147483647 h 254"/>
                <a:gd name="T8" fmla="*/ 2147483647 w 309"/>
                <a:gd name="T9" fmla="*/ 2147483647 h 254"/>
                <a:gd name="T10" fmla="*/ 2147483647 w 309"/>
                <a:gd name="T11" fmla="*/ 2147483647 h 254"/>
                <a:gd name="T12" fmla="*/ 2147483647 w 309"/>
                <a:gd name="T13" fmla="*/ 2147483647 h 254"/>
                <a:gd name="T14" fmla="*/ 2147483647 w 309"/>
                <a:gd name="T15" fmla="*/ 2147483647 h 254"/>
                <a:gd name="T16" fmla="*/ 2147483647 w 309"/>
                <a:gd name="T17" fmla="*/ 2147483647 h 254"/>
                <a:gd name="T18" fmla="*/ 2147483647 w 309"/>
                <a:gd name="T19" fmla="*/ 2147483647 h 25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09" h="254">
                  <a:moveTo>
                    <a:pt x="233" y="53"/>
                  </a:moveTo>
                  <a:cubicBezTo>
                    <a:pt x="109" y="0"/>
                    <a:pt x="0" y="199"/>
                    <a:pt x="104" y="226"/>
                  </a:cubicBezTo>
                  <a:cubicBezTo>
                    <a:pt x="204" y="254"/>
                    <a:pt x="309" y="89"/>
                    <a:pt x="233" y="53"/>
                  </a:cubicBezTo>
                  <a:moveTo>
                    <a:pt x="194" y="150"/>
                  </a:moveTo>
                  <a:cubicBezTo>
                    <a:pt x="190" y="158"/>
                    <a:pt x="184" y="166"/>
                    <a:pt x="176" y="175"/>
                  </a:cubicBezTo>
                  <a:cubicBezTo>
                    <a:pt x="169" y="183"/>
                    <a:pt x="162" y="189"/>
                    <a:pt x="156" y="193"/>
                  </a:cubicBezTo>
                  <a:cubicBezTo>
                    <a:pt x="145" y="201"/>
                    <a:pt x="134" y="207"/>
                    <a:pt x="124" y="207"/>
                  </a:cubicBezTo>
                  <a:cubicBezTo>
                    <a:pt x="99" y="206"/>
                    <a:pt x="103" y="159"/>
                    <a:pt x="133" y="119"/>
                  </a:cubicBezTo>
                  <a:cubicBezTo>
                    <a:pt x="155" y="87"/>
                    <a:pt x="188" y="49"/>
                    <a:pt x="211" y="60"/>
                  </a:cubicBezTo>
                  <a:cubicBezTo>
                    <a:pt x="229" y="69"/>
                    <a:pt x="218" y="109"/>
                    <a:pt x="194" y="150"/>
                  </a:cubicBezTo>
                </a:path>
              </a:pathLst>
            </a:custGeom>
            <a:solidFill>
              <a:srgbClr val="767A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dirty="0"/>
            </a:p>
          </p:txBody>
        </p:sp>
        <p:sp>
          <p:nvSpPr>
            <p:cNvPr id="12" name="Freeform 21"/>
            <p:cNvSpPr>
              <a:spLocks noEditPoints="1"/>
            </p:cNvSpPr>
            <p:nvPr/>
          </p:nvSpPr>
          <p:spPr bwMode="auto">
            <a:xfrm>
              <a:off x="5295900" y="3910013"/>
              <a:ext cx="936625" cy="1019175"/>
            </a:xfrm>
            <a:custGeom>
              <a:avLst/>
              <a:gdLst>
                <a:gd name="T0" fmla="*/ 2147483647 w 250"/>
                <a:gd name="T1" fmla="*/ 2147483647 h 272"/>
                <a:gd name="T2" fmla="*/ 2147483647 w 250"/>
                <a:gd name="T3" fmla="*/ 2147483647 h 272"/>
                <a:gd name="T4" fmla="*/ 2147483647 w 250"/>
                <a:gd name="T5" fmla="*/ 2147483647 h 272"/>
                <a:gd name="T6" fmla="*/ 2147483647 w 250"/>
                <a:gd name="T7" fmla="*/ 2147483647 h 272"/>
                <a:gd name="T8" fmla="*/ 2147483647 w 250"/>
                <a:gd name="T9" fmla="*/ 2147483647 h 272"/>
                <a:gd name="T10" fmla="*/ 2147483647 w 250"/>
                <a:gd name="T11" fmla="*/ 2147483647 h 272"/>
                <a:gd name="T12" fmla="*/ 2147483647 w 250"/>
                <a:gd name="T13" fmla="*/ 2147483647 h 272"/>
                <a:gd name="T14" fmla="*/ 2147483647 w 250"/>
                <a:gd name="T15" fmla="*/ 2147483647 h 272"/>
                <a:gd name="T16" fmla="*/ 0 w 250"/>
                <a:gd name="T17" fmla="*/ 2147483647 h 272"/>
                <a:gd name="T18" fmla="*/ 2147483647 w 250"/>
                <a:gd name="T19" fmla="*/ 2147483647 h 272"/>
                <a:gd name="T20" fmla="*/ 2147483647 w 250"/>
                <a:gd name="T21" fmla="*/ 2147483647 h 272"/>
                <a:gd name="T22" fmla="*/ 2147483647 w 250"/>
                <a:gd name="T23" fmla="*/ 2147483647 h 272"/>
                <a:gd name="T24" fmla="*/ 2147483647 w 250"/>
                <a:gd name="T25" fmla="*/ 2147483647 h 272"/>
                <a:gd name="T26" fmla="*/ 2147483647 w 250"/>
                <a:gd name="T27" fmla="*/ 2147483647 h 272"/>
                <a:gd name="T28" fmla="*/ 2147483647 w 250"/>
                <a:gd name="T29" fmla="*/ 2147483647 h 272"/>
                <a:gd name="T30" fmla="*/ 2147483647 w 250"/>
                <a:gd name="T31" fmla="*/ 2147483647 h 272"/>
                <a:gd name="T32" fmla="*/ 2147483647 w 250"/>
                <a:gd name="T33" fmla="*/ 2147483647 h 272"/>
                <a:gd name="T34" fmla="*/ 2147483647 w 250"/>
                <a:gd name="T35" fmla="*/ 2147483647 h 27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250" h="272">
                  <a:moveTo>
                    <a:pt x="210" y="32"/>
                  </a:moveTo>
                  <a:cubicBezTo>
                    <a:pt x="210" y="32"/>
                    <a:pt x="208" y="13"/>
                    <a:pt x="192" y="6"/>
                  </a:cubicBezTo>
                  <a:cubicBezTo>
                    <a:pt x="176" y="0"/>
                    <a:pt x="113" y="4"/>
                    <a:pt x="66" y="62"/>
                  </a:cubicBezTo>
                  <a:cubicBezTo>
                    <a:pt x="27" y="110"/>
                    <a:pt x="19" y="153"/>
                    <a:pt x="42" y="176"/>
                  </a:cubicBezTo>
                  <a:cubicBezTo>
                    <a:pt x="59" y="193"/>
                    <a:pt x="103" y="189"/>
                    <a:pt x="147" y="130"/>
                  </a:cubicBezTo>
                  <a:cubicBezTo>
                    <a:pt x="147" y="133"/>
                    <a:pt x="120" y="187"/>
                    <a:pt x="115" y="196"/>
                  </a:cubicBezTo>
                  <a:cubicBezTo>
                    <a:pt x="99" y="225"/>
                    <a:pt x="73" y="243"/>
                    <a:pt x="60" y="245"/>
                  </a:cubicBezTo>
                  <a:cubicBezTo>
                    <a:pt x="25" y="251"/>
                    <a:pt x="20" y="223"/>
                    <a:pt x="18" y="209"/>
                  </a:cubicBezTo>
                  <a:cubicBezTo>
                    <a:pt x="18" y="208"/>
                    <a:pt x="0" y="209"/>
                    <a:pt x="0" y="226"/>
                  </a:cubicBezTo>
                  <a:cubicBezTo>
                    <a:pt x="0" y="248"/>
                    <a:pt x="26" y="272"/>
                    <a:pt x="66" y="266"/>
                  </a:cubicBezTo>
                  <a:cubicBezTo>
                    <a:pt x="139" y="255"/>
                    <a:pt x="166" y="198"/>
                    <a:pt x="197" y="124"/>
                  </a:cubicBezTo>
                  <a:cubicBezTo>
                    <a:pt x="202" y="113"/>
                    <a:pt x="226" y="61"/>
                    <a:pt x="247" y="34"/>
                  </a:cubicBezTo>
                  <a:cubicBezTo>
                    <a:pt x="250" y="29"/>
                    <a:pt x="219" y="22"/>
                    <a:pt x="213" y="29"/>
                  </a:cubicBezTo>
                  <a:lnTo>
                    <a:pt x="210" y="32"/>
                  </a:lnTo>
                  <a:close/>
                  <a:moveTo>
                    <a:pt x="182" y="59"/>
                  </a:moveTo>
                  <a:cubicBezTo>
                    <a:pt x="151" y="106"/>
                    <a:pt x="103" y="160"/>
                    <a:pt x="86" y="136"/>
                  </a:cubicBezTo>
                  <a:cubicBezTo>
                    <a:pt x="80" y="126"/>
                    <a:pt x="83" y="101"/>
                    <a:pt x="116" y="59"/>
                  </a:cubicBezTo>
                  <a:cubicBezTo>
                    <a:pt x="157" y="7"/>
                    <a:pt x="208" y="19"/>
                    <a:pt x="182" y="59"/>
                  </a:cubicBezTo>
                </a:path>
              </a:pathLst>
            </a:custGeom>
            <a:solidFill>
              <a:srgbClr val="767A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dirty="0"/>
            </a:p>
          </p:txBody>
        </p:sp>
      </p:grpSp>
      <p:pic>
        <p:nvPicPr>
          <p:cNvPr id="13" name="Picture 3" descr="F:\00_eldorado\Thomas Cook\07 TCLC 09.2013\00 brand design\logos\00 Group\ThomasCook_hori_office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1668" y="723903"/>
            <a:ext cx="3121421" cy="398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0585" y="4068356"/>
            <a:ext cx="8420100" cy="705321"/>
          </a:xfrm>
        </p:spPr>
        <p:txBody>
          <a:bodyPr anchor="ctr"/>
          <a:lstStyle>
            <a:lvl1pPr algn="l">
              <a:defRPr sz="5000" b="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0585" y="6328726"/>
            <a:ext cx="6934200" cy="276999"/>
          </a:xfrm>
          <a:prstGeom prst="rect">
            <a:avLst/>
          </a:prstGeom>
        </p:spPr>
        <p:txBody>
          <a:bodyPr anchor="b"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02277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Conclus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5657205" y="1681163"/>
            <a:ext cx="3800302" cy="4437062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txBody>
          <a:bodyPr lIns="107990" tIns="107990" rIns="107990" bIns="107990">
            <a:noAutofit/>
          </a:bodyPr>
          <a:lstStyle>
            <a:lvl1pPr marL="0" indent="0">
              <a:buClr>
                <a:schemeClr val="bg2"/>
              </a:buClr>
              <a:buNone/>
              <a:defRPr sz="1800">
                <a:solidFill>
                  <a:schemeClr val="accent4"/>
                </a:solidFill>
              </a:defRPr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16"/>
          </p:nvPr>
        </p:nvSpPr>
        <p:spPr>
          <a:xfrm>
            <a:off x="5775319" y="2189446"/>
            <a:ext cx="3484070" cy="246221"/>
          </a:xfrm>
          <a:prstGeom prst="rect">
            <a:avLst/>
          </a:prstGeom>
          <a:noFill/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22" name="Inhaltsplatzhalter 21"/>
          <p:cNvSpPr>
            <a:spLocks noGrp="1"/>
          </p:cNvSpPr>
          <p:nvPr>
            <p:ph sz="quarter" idx="18"/>
          </p:nvPr>
        </p:nvSpPr>
        <p:spPr>
          <a:xfrm>
            <a:off x="450587" y="1681179"/>
            <a:ext cx="4871638" cy="142808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23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59512" y="1276000"/>
            <a:ext cx="9013109" cy="246221"/>
          </a:xfrm>
          <a:prstGeom prst="rect">
            <a:avLst/>
          </a:prstGeom>
          <a:noFill/>
        </p:spPr>
        <p:txBody>
          <a:bodyPr/>
          <a:lstStyle>
            <a:lvl1pPr marL="0" indent="0">
              <a:buClr>
                <a:schemeClr val="bg2"/>
              </a:buClr>
              <a:buNone/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ADC772-ACD6-4F8F-AB28-3FCFB02F0FD2}" type="datetime1">
              <a:rPr lang="en-US"/>
              <a:pPr>
                <a:defRPr/>
              </a:pPr>
              <a:t>5/24/2017</a:t>
            </a:fld>
            <a:endParaRPr lang="en-US" dirty="0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01B7B4-BD1B-460D-AC92-42FF9E534E0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6749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iz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450607" y="1281366"/>
            <a:ext cx="9022027" cy="246221"/>
          </a:xfrm>
          <a:prstGeom prst="rect">
            <a:avLst/>
          </a:prstGeom>
        </p:spPr>
        <p:txBody>
          <a:bodyPr rtlCol="0"/>
          <a:lstStyle/>
          <a:p>
            <a:pPr lvl="0"/>
            <a:endParaRPr lang="en-US" noProof="0" dirty="0"/>
          </a:p>
        </p:txBody>
      </p:sp>
      <p:sp>
        <p:nvSpPr>
          <p:cNvPr id="4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3FAF02-6D2B-4354-9B5D-BD0939633F2F}" type="datetime1">
              <a:rPr lang="en-US"/>
              <a:pPr>
                <a:defRPr/>
              </a:pPr>
              <a:t>5/24/2017</a:t>
            </a:fld>
            <a:endParaRPr lang="en-US" dirty="0"/>
          </a:p>
        </p:txBody>
      </p:sp>
      <p:sp>
        <p:nvSpPr>
          <p:cNvPr id="5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E52723-6DEB-4871-B0E6-F764AA7B731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89997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450588" y="1281366"/>
            <a:ext cx="4504136" cy="246221"/>
          </a:xfrm>
          <a:prstGeom prst="rect">
            <a:avLst/>
          </a:prstGeom>
        </p:spPr>
        <p:txBody>
          <a:bodyPr rtlCol="0"/>
          <a:lstStyle/>
          <a:p>
            <a:pPr lvl="0"/>
            <a:endParaRPr lang="en-US" noProof="0" dirty="0"/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5223164" y="1281120"/>
            <a:ext cx="4249448" cy="1428083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umsplatzhalter 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28EABB-AB00-4EEE-8EFE-4E6C48D1EEA9}" type="datetime1">
              <a:rPr lang="en-US"/>
              <a:pPr>
                <a:defRPr/>
              </a:pPr>
              <a:t>5/24/2017</a:t>
            </a:fld>
            <a:endParaRPr lang="en-US" dirty="0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" name="Foliennummernplatzhalt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8C215A-28DE-4C2C-987A-A719E4E3879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22220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B46C1B-27F6-4169-AE46-55E894CFCE30}" type="datetime1">
              <a:rPr lang="en-US"/>
              <a:pPr>
                <a:defRPr/>
              </a:pPr>
              <a:t>5/24/2017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EB99A0-E4F2-4431-9592-0D9EAB1860D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44129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545725-BAC9-44B8-822F-89FE83E109A5}" type="datetime1">
              <a:rPr lang="en-GB"/>
              <a:pPr>
                <a:defRPr/>
              </a:pPr>
              <a:t>24/05/2017</a:t>
            </a:fld>
            <a:endParaRPr lang="en-GB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8C3DC1-49CF-403E-A0D3-F9F891380FC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15762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EC4A7C-D6A2-4092-9C3E-A567C0EC5526}" type="datetime1">
              <a:rPr lang="en-GB"/>
              <a:pPr>
                <a:defRPr/>
              </a:pPr>
              <a:t>24/05/2017</a:t>
            </a:fld>
            <a:endParaRPr lang="en-GB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773504-FA07-41C1-8C69-D76C5D0F716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64999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D4F776-04A3-4A58-BAB5-E6ECD70D6030}" type="datetime1">
              <a:rPr lang="en-GB"/>
              <a:pPr>
                <a:defRPr/>
              </a:pPr>
              <a:t>24/05/2017</a:t>
            </a:fld>
            <a:endParaRPr lang="en-GB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29EE1E-7CE4-48CF-BE06-0D7D12E1C508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04580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A9844F-BA04-4FBC-8950-F9FD4B039EBA}" type="datetime1">
              <a:rPr lang="en-GB"/>
              <a:pPr>
                <a:defRPr/>
              </a:pPr>
              <a:t>24/05/2017</a:t>
            </a:fld>
            <a:endParaRPr lang="en-GB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954CE9-948F-4C03-B241-06F926FCB26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6828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0C891F-67DC-4588-AEBA-1196D0468788}" type="datetime1">
              <a:rPr lang="en-GB"/>
              <a:pPr>
                <a:defRPr/>
              </a:pPr>
              <a:t>24/05/2017</a:t>
            </a:fld>
            <a:endParaRPr lang="en-GB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20B5F0-1471-45CD-9560-FEA888A39E8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48898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3BF26D-98DD-45BA-9813-6A1379ABEC70}" type="datetime1">
              <a:rPr lang="en-GB"/>
              <a:pPr>
                <a:defRPr/>
              </a:pPr>
              <a:t>24/05/2017</a:t>
            </a:fld>
            <a:endParaRPr lang="en-GB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D1B140-51A2-4160-B7CA-9E8346A22C4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67884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resentation Title with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41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20" descr="F:\00_eldorado\Thomas Cook\07 TCLC 09.2013\00 brand design\PPT template\backdrop images\RHOMIRA1139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uppieren 5"/>
          <p:cNvGrpSpPr>
            <a:grpSpLocks noChangeAspect="1"/>
          </p:cNvGrpSpPr>
          <p:nvPr userDrawn="1"/>
        </p:nvGrpSpPr>
        <p:grpSpPr>
          <a:xfrm>
            <a:off x="7582016" y="5250448"/>
            <a:ext cx="1950000" cy="1388487"/>
            <a:chOff x="4492625" y="2695575"/>
            <a:chExt cx="2895601" cy="2233613"/>
          </a:xfrm>
          <a:solidFill>
            <a:schemeClr val="bg1"/>
          </a:solidFill>
        </p:grpSpPr>
        <p:sp>
          <p:nvSpPr>
            <p:cNvPr id="7" name="Freeform 14"/>
            <p:cNvSpPr>
              <a:spLocks/>
            </p:cNvSpPr>
            <p:nvPr/>
          </p:nvSpPr>
          <p:spPr bwMode="auto">
            <a:xfrm>
              <a:off x="6450013" y="3100388"/>
              <a:ext cx="674688" cy="727075"/>
            </a:xfrm>
            <a:custGeom>
              <a:avLst/>
              <a:gdLst>
                <a:gd name="T0" fmla="*/ 135 w 180"/>
                <a:gd name="T1" fmla="*/ 1 h 194"/>
                <a:gd name="T2" fmla="*/ 51 w 180"/>
                <a:gd name="T3" fmla="*/ 42 h 194"/>
                <a:gd name="T4" fmla="*/ 36 w 180"/>
                <a:gd name="T5" fmla="*/ 65 h 194"/>
                <a:gd name="T6" fmla="*/ 65 w 180"/>
                <a:gd name="T7" fmla="*/ 127 h 194"/>
                <a:gd name="T8" fmla="*/ 88 w 180"/>
                <a:gd name="T9" fmla="*/ 147 h 194"/>
                <a:gd name="T10" fmla="*/ 87 w 180"/>
                <a:gd name="T11" fmla="*/ 161 h 194"/>
                <a:gd name="T12" fmla="*/ 24 w 180"/>
                <a:gd name="T13" fmla="*/ 163 h 194"/>
                <a:gd name="T14" fmla="*/ 3 w 180"/>
                <a:gd name="T15" fmla="*/ 150 h 194"/>
                <a:gd name="T16" fmla="*/ 0 w 180"/>
                <a:gd name="T17" fmla="*/ 153 h 194"/>
                <a:gd name="T18" fmla="*/ 2 w 180"/>
                <a:gd name="T19" fmla="*/ 161 h 194"/>
                <a:gd name="T20" fmla="*/ 17 w 180"/>
                <a:gd name="T21" fmla="*/ 176 h 194"/>
                <a:gd name="T22" fmla="*/ 94 w 180"/>
                <a:gd name="T23" fmla="*/ 190 h 194"/>
                <a:gd name="T24" fmla="*/ 117 w 180"/>
                <a:gd name="T25" fmla="*/ 125 h 194"/>
                <a:gd name="T26" fmla="*/ 90 w 180"/>
                <a:gd name="T27" fmla="*/ 68 h 194"/>
                <a:gd name="T28" fmla="*/ 106 w 180"/>
                <a:gd name="T29" fmla="*/ 46 h 194"/>
                <a:gd name="T30" fmla="*/ 161 w 180"/>
                <a:gd name="T31" fmla="*/ 39 h 194"/>
                <a:gd name="T32" fmla="*/ 165 w 180"/>
                <a:gd name="T33" fmla="*/ 51 h 194"/>
                <a:gd name="T34" fmla="*/ 178 w 180"/>
                <a:gd name="T35" fmla="*/ 53 h 194"/>
                <a:gd name="T36" fmla="*/ 178 w 180"/>
                <a:gd name="T37" fmla="*/ 31 h 194"/>
                <a:gd name="T38" fmla="*/ 135 w 180"/>
                <a:gd name="T39" fmla="*/ 1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0" h="194">
                  <a:moveTo>
                    <a:pt x="135" y="1"/>
                  </a:moveTo>
                  <a:cubicBezTo>
                    <a:pt x="104" y="0"/>
                    <a:pt x="72" y="18"/>
                    <a:pt x="51" y="42"/>
                  </a:cubicBezTo>
                  <a:cubicBezTo>
                    <a:pt x="45" y="48"/>
                    <a:pt x="40" y="57"/>
                    <a:pt x="36" y="65"/>
                  </a:cubicBezTo>
                  <a:cubicBezTo>
                    <a:pt x="25" y="91"/>
                    <a:pt x="44" y="115"/>
                    <a:pt x="65" y="127"/>
                  </a:cubicBezTo>
                  <a:cubicBezTo>
                    <a:pt x="74" y="132"/>
                    <a:pt x="84" y="137"/>
                    <a:pt x="88" y="147"/>
                  </a:cubicBezTo>
                  <a:cubicBezTo>
                    <a:pt x="89" y="151"/>
                    <a:pt x="90" y="157"/>
                    <a:pt x="87" y="161"/>
                  </a:cubicBezTo>
                  <a:cubicBezTo>
                    <a:pt x="76" y="176"/>
                    <a:pt x="35" y="169"/>
                    <a:pt x="24" y="163"/>
                  </a:cubicBezTo>
                  <a:cubicBezTo>
                    <a:pt x="16" y="159"/>
                    <a:pt x="10" y="154"/>
                    <a:pt x="3" y="150"/>
                  </a:cubicBezTo>
                  <a:cubicBezTo>
                    <a:pt x="3" y="150"/>
                    <a:pt x="0" y="149"/>
                    <a:pt x="0" y="153"/>
                  </a:cubicBezTo>
                  <a:cubicBezTo>
                    <a:pt x="0" y="155"/>
                    <a:pt x="0" y="158"/>
                    <a:pt x="2" y="161"/>
                  </a:cubicBezTo>
                  <a:cubicBezTo>
                    <a:pt x="5" y="167"/>
                    <a:pt x="11" y="172"/>
                    <a:pt x="17" y="176"/>
                  </a:cubicBezTo>
                  <a:cubicBezTo>
                    <a:pt x="38" y="190"/>
                    <a:pt x="67" y="194"/>
                    <a:pt x="94" y="190"/>
                  </a:cubicBezTo>
                  <a:cubicBezTo>
                    <a:pt x="136" y="184"/>
                    <a:pt x="142" y="148"/>
                    <a:pt x="117" y="125"/>
                  </a:cubicBezTo>
                  <a:cubicBezTo>
                    <a:pt x="99" y="107"/>
                    <a:pt x="80" y="96"/>
                    <a:pt x="90" y="68"/>
                  </a:cubicBezTo>
                  <a:cubicBezTo>
                    <a:pt x="93" y="60"/>
                    <a:pt x="100" y="51"/>
                    <a:pt x="106" y="46"/>
                  </a:cubicBezTo>
                  <a:cubicBezTo>
                    <a:pt x="118" y="35"/>
                    <a:pt x="156" y="11"/>
                    <a:pt x="161" y="39"/>
                  </a:cubicBezTo>
                  <a:cubicBezTo>
                    <a:pt x="162" y="45"/>
                    <a:pt x="162" y="47"/>
                    <a:pt x="165" y="51"/>
                  </a:cubicBezTo>
                  <a:cubicBezTo>
                    <a:pt x="167" y="54"/>
                    <a:pt x="173" y="58"/>
                    <a:pt x="178" y="53"/>
                  </a:cubicBezTo>
                  <a:cubicBezTo>
                    <a:pt x="178" y="53"/>
                    <a:pt x="180" y="37"/>
                    <a:pt x="178" y="31"/>
                  </a:cubicBezTo>
                  <a:cubicBezTo>
                    <a:pt x="174" y="15"/>
                    <a:pt x="142" y="1"/>
                    <a:pt x="135" y="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6C6F70"/>
                </a:solidFill>
                <a:latin typeface="+mn-lt"/>
                <a:cs typeface="+mn-cs"/>
              </a:endParaRPr>
            </a:p>
          </p:txBody>
        </p:sp>
        <p:sp>
          <p:nvSpPr>
            <p:cNvPr id="8" name="Freeform 15"/>
            <p:cNvSpPr>
              <a:spLocks/>
            </p:cNvSpPr>
            <p:nvPr/>
          </p:nvSpPr>
          <p:spPr bwMode="auto">
            <a:xfrm>
              <a:off x="4492625" y="2695575"/>
              <a:ext cx="773113" cy="1173163"/>
            </a:xfrm>
            <a:custGeom>
              <a:avLst/>
              <a:gdLst>
                <a:gd name="T0" fmla="*/ 181 w 206"/>
                <a:gd name="T1" fmla="*/ 275 h 313"/>
                <a:gd name="T2" fmla="*/ 62 w 206"/>
                <a:gd name="T3" fmla="*/ 282 h 313"/>
                <a:gd name="T4" fmla="*/ 171 w 206"/>
                <a:gd name="T5" fmla="*/ 86 h 313"/>
                <a:gd name="T6" fmla="*/ 196 w 206"/>
                <a:gd name="T7" fmla="*/ 37 h 313"/>
                <a:gd name="T8" fmla="*/ 195 w 206"/>
                <a:gd name="T9" fmla="*/ 26 h 313"/>
                <a:gd name="T10" fmla="*/ 175 w 206"/>
                <a:gd name="T11" fmla="*/ 1 h 313"/>
                <a:gd name="T12" fmla="*/ 169 w 206"/>
                <a:gd name="T13" fmla="*/ 2 h 313"/>
                <a:gd name="T14" fmla="*/ 150 w 206"/>
                <a:gd name="T15" fmla="*/ 27 h 313"/>
                <a:gd name="T16" fmla="*/ 75 w 206"/>
                <a:gd name="T17" fmla="*/ 136 h 313"/>
                <a:gd name="T18" fmla="*/ 43 w 206"/>
                <a:gd name="T19" fmla="*/ 190 h 313"/>
                <a:gd name="T20" fmla="*/ 10 w 206"/>
                <a:gd name="T21" fmla="*/ 255 h 313"/>
                <a:gd name="T22" fmla="*/ 34 w 206"/>
                <a:gd name="T23" fmla="*/ 307 h 313"/>
                <a:gd name="T24" fmla="*/ 46 w 206"/>
                <a:gd name="T25" fmla="*/ 313 h 313"/>
                <a:gd name="T26" fmla="*/ 202 w 206"/>
                <a:gd name="T27" fmla="*/ 293 h 313"/>
                <a:gd name="T28" fmla="*/ 181 w 206"/>
                <a:gd name="T29" fmla="*/ 275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6" h="313">
                  <a:moveTo>
                    <a:pt x="181" y="275"/>
                  </a:moveTo>
                  <a:cubicBezTo>
                    <a:pt x="145" y="266"/>
                    <a:pt x="95" y="279"/>
                    <a:pt x="62" y="282"/>
                  </a:cubicBezTo>
                  <a:cubicBezTo>
                    <a:pt x="91" y="228"/>
                    <a:pt x="143" y="135"/>
                    <a:pt x="171" y="86"/>
                  </a:cubicBezTo>
                  <a:cubicBezTo>
                    <a:pt x="178" y="73"/>
                    <a:pt x="189" y="51"/>
                    <a:pt x="196" y="37"/>
                  </a:cubicBezTo>
                  <a:cubicBezTo>
                    <a:pt x="196" y="37"/>
                    <a:pt x="198" y="33"/>
                    <a:pt x="195" y="26"/>
                  </a:cubicBezTo>
                  <a:cubicBezTo>
                    <a:pt x="192" y="19"/>
                    <a:pt x="177" y="3"/>
                    <a:pt x="175" y="1"/>
                  </a:cubicBezTo>
                  <a:cubicBezTo>
                    <a:pt x="174" y="0"/>
                    <a:pt x="171" y="0"/>
                    <a:pt x="169" y="2"/>
                  </a:cubicBezTo>
                  <a:cubicBezTo>
                    <a:pt x="163" y="10"/>
                    <a:pt x="152" y="24"/>
                    <a:pt x="150" y="27"/>
                  </a:cubicBezTo>
                  <a:cubicBezTo>
                    <a:pt x="145" y="34"/>
                    <a:pt x="87" y="116"/>
                    <a:pt x="75" y="136"/>
                  </a:cubicBezTo>
                  <a:cubicBezTo>
                    <a:pt x="70" y="145"/>
                    <a:pt x="48" y="180"/>
                    <a:pt x="43" y="190"/>
                  </a:cubicBezTo>
                  <a:cubicBezTo>
                    <a:pt x="29" y="216"/>
                    <a:pt x="19" y="236"/>
                    <a:pt x="10" y="255"/>
                  </a:cubicBezTo>
                  <a:cubicBezTo>
                    <a:pt x="0" y="283"/>
                    <a:pt x="25" y="300"/>
                    <a:pt x="34" y="307"/>
                  </a:cubicBezTo>
                  <a:cubicBezTo>
                    <a:pt x="34" y="307"/>
                    <a:pt x="43" y="313"/>
                    <a:pt x="46" y="313"/>
                  </a:cubicBezTo>
                  <a:cubicBezTo>
                    <a:pt x="67" y="313"/>
                    <a:pt x="157" y="293"/>
                    <a:pt x="202" y="293"/>
                  </a:cubicBezTo>
                  <a:cubicBezTo>
                    <a:pt x="206" y="292"/>
                    <a:pt x="192" y="282"/>
                    <a:pt x="181" y="27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6C6F70"/>
                </a:solidFill>
                <a:latin typeface="+mn-lt"/>
                <a:cs typeface="+mn-cs"/>
              </a:endParaRPr>
            </a:p>
          </p:txBody>
        </p:sp>
        <p:sp>
          <p:nvSpPr>
            <p:cNvPr id="9" name="Freeform 16"/>
            <p:cNvSpPr>
              <a:spLocks noEditPoints="1"/>
            </p:cNvSpPr>
            <p:nvPr/>
          </p:nvSpPr>
          <p:spPr bwMode="auto">
            <a:xfrm>
              <a:off x="5205413" y="2778125"/>
              <a:ext cx="1349375" cy="1109663"/>
            </a:xfrm>
            <a:custGeom>
              <a:avLst/>
              <a:gdLst>
                <a:gd name="T0" fmla="*/ 356 w 360"/>
                <a:gd name="T1" fmla="*/ 99 h 296"/>
                <a:gd name="T2" fmla="*/ 359 w 360"/>
                <a:gd name="T3" fmla="*/ 94 h 296"/>
                <a:gd name="T4" fmla="*/ 308 w 360"/>
                <a:gd name="T5" fmla="*/ 85 h 296"/>
                <a:gd name="T6" fmla="*/ 329 w 360"/>
                <a:gd name="T7" fmla="*/ 51 h 296"/>
                <a:gd name="T8" fmla="*/ 330 w 360"/>
                <a:gd name="T9" fmla="*/ 31 h 296"/>
                <a:gd name="T10" fmla="*/ 304 w 360"/>
                <a:gd name="T11" fmla="*/ 2 h 296"/>
                <a:gd name="T12" fmla="*/ 299 w 360"/>
                <a:gd name="T13" fmla="*/ 3 h 296"/>
                <a:gd name="T14" fmla="*/ 297 w 360"/>
                <a:gd name="T15" fmla="*/ 12 h 296"/>
                <a:gd name="T16" fmla="*/ 254 w 360"/>
                <a:gd name="T17" fmla="*/ 85 h 296"/>
                <a:gd name="T18" fmla="*/ 209 w 360"/>
                <a:gd name="T19" fmla="*/ 85 h 296"/>
                <a:gd name="T20" fmla="*/ 205 w 360"/>
                <a:gd name="T21" fmla="*/ 89 h 296"/>
                <a:gd name="T22" fmla="*/ 213 w 360"/>
                <a:gd name="T23" fmla="*/ 100 h 296"/>
                <a:gd name="T24" fmla="*/ 245 w 360"/>
                <a:gd name="T25" fmla="*/ 100 h 296"/>
                <a:gd name="T26" fmla="*/ 198 w 360"/>
                <a:gd name="T27" fmla="*/ 182 h 296"/>
                <a:gd name="T28" fmla="*/ 185 w 360"/>
                <a:gd name="T29" fmla="*/ 201 h 296"/>
                <a:gd name="T30" fmla="*/ 76 w 360"/>
                <a:gd name="T31" fmla="*/ 244 h 296"/>
                <a:gd name="T32" fmla="*/ 71 w 360"/>
                <a:gd name="T33" fmla="*/ 196 h 296"/>
                <a:gd name="T34" fmla="*/ 135 w 360"/>
                <a:gd name="T35" fmla="*/ 193 h 296"/>
                <a:gd name="T36" fmla="*/ 170 w 360"/>
                <a:gd name="T37" fmla="*/ 95 h 296"/>
                <a:gd name="T38" fmla="*/ 59 w 360"/>
                <a:gd name="T39" fmla="*/ 131 h 296"/>
                <a:gd name="T40" fmla="*/ 41 w 360"/>
                <a:gd name="T41" fmla="*/ 276 h 296"/>
                <a:gd name="T42" fmla="*/ 179 w 360"/>
                <a:gd name="T43" fmla="*/ 227 h 296"/>
                <a:gd name="T44" fmla="*/ 178 w 360"/>
                <a:gd name="T45" fmla="*/ 237 h 296"/>
                <a:gd name="T46" fmla="*/ 190 w 360"/>
                <a:gd name="T47" fmla="*/ 270 h 296"/>
                <a:gd name="T48" fmla="*/ 292 w 360"/>
                <a:gd name="T49" fmla="*/ 221 h 296"/>
                <a:gd name="T50" fmla="*/ 278 w 360"/>
                <a:gd name="T51" fmla="*/ 220 h 296"/>
                <a:gd name="T52" fmla="*/ 232 w 360"/>
                <a:gd name="T53" fmla="*/ 247 h 296"/>
                <a:gd name="T54" fmla="*/ 298 w 360"/>
                <a:gd name="T55" fmla="*/ 100 h 296"/>
                <a:gd name="T56" fmla="*/ 356 w 360"/>
                <a:gd name="T57" fmla="*/ 99 h 296"/>
                <a:gd name="T58" fmla="*/ 157 w 360"/>
                <a:gd name="T59" fmla="*/ 106 h 296"/>
                <a:gd name="T60" fmla="*/ 131 w 360"/>
                <a:gd name="T61" fmla="*/ 163 h 296"/>
                <a:gd name="T62" fmla="*/ 74 w 360"/>
                <a:gd name="T63" fmla="*/ 184 h 296"/>
                <a:gd name="T64" fmla="*/ 157 w 360"/>
                <a:gd name="T65" fmla="*/ 106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0" h="296">
                  <a:moveTo>
                    <a:pt x="356" y="99"/>
                  </a:moveTo>
                  <a:cubicBezTo>
                    <a:pt x="358" y="99"/>
                    <a:pt x="360" y="97"/>
                    <a:pt x="359" y="94"/>
                  </a:cubicBezTo>
                  <a:cubicBezTo>
                    <a:pt x="352" y="87"/>
                    <a:pt x="332" y="85"/>
                    <a:pt x="308" y="85"/>
                  </a:cubicBezTo>
                  <a:cubicBezTo>
                    <a:pt x="313" y="76"/>
                    <a:pt x="326" y="57"/>
                    <a:pt x="329" y="51"/>
                  </a:cubicBezTo>
                  <a:cubicBezTo>
                    <a:pt x="333" y="40"/>
                    <a:pt x="332" y="35"/>
                    <a:pt x="330" y="31"/>
                  </a:cubicBezTo>
                  <a:cubicBezTo>
                    <a:pt x="325" y="23"/>
                    <a:pt x="307" y="4"/>
                    <a:pt x="304" y="2"/>
                  </a:cubicBezTo>
                  <a:cubicBezTo>
                    <a:pt x="303" y="0"/>
                    <a:pt x="299" y="0"/>
                    <a:pt x="299" y="3"/>
                  </a:cubicBezTo>
                  <a:cubicBezTo>
                    <a:pt x="299" y="7"/>
                    <a:pt x="299" y="8"/>
                    <a:pt x="297" y="12"/>
                  </a:cubicBezTo>
                  <a:cubicBezTo>
                    <a:pt x="295" y="19"/>
                    <a:pt x="254" y="85"/>
                    <a:pt x="254" y="85"/>
                  </a:cubicBezTo>
                  <a:cubicBezTo>
                    <a:pt x="209" y="85"/>
                    <a:pt x="209" y="85"/>
                    <a:pt x="209" y="85"/>
                  </a:cubicBezTo>
                  <a:cubicBezTo>
                    <a:pt x="209" y="85"/>
                    <a:pt x="203" y="85"/>
                    <a:pt x="205" y="89"/>
                  </a:cubicBezTo>
                  <a:cubicBezTo>
                    <a:pt x="206" y="93"/>
                    <a:pt x="213" y="100"/>
                    <a:pt x="213" y="100"/>
                  </a:cubicBezTo>
                  <a:cubicBezTo>
                    <a:pt x="227" y="100"/>
                    <a:pt x="245" y="100"/>
                    <a:pt x="245" y="100"/>
                  </a:cubicBezTo>
                  <a:cubicBezTo>
                    <a:pt x="245" y="100"/>
                    <a:pt x="213" y="155"/>
                    <a:pt x="198" y="182"/>
                  </a:cubicBezTo>
                  <a:cubicBezTo>
                    <a:pt x="194" y="189"/>
                    <a:pt x="191" y="195"/>
                    <a:pt x="185" y="201"/>
                  </a:cubicBezTo>
                  <a:cubicBezTo>
                    <a:pt x="172" y="216"/>
                    <a:pt x="120" y="268"/>
                    <a:pt x="76" y="244"/>
                  </a:cubicBezTo>
                  <a:cubicBezTo>
                    <a:pt x="64" y="237"/>
                    <a:pt x="65" y="213"/>
                    <a:pt x="71" y="196"/>
                  </a:cubicBezTo>
                  <a:cubicBezTo>
                    <a:pt x="71" y="196"/>
                    <a:pt x="99" y="214"/>
                    <a:pt x="135" y="193"/>
                  </a:cubicBezTo>
                  <a:cubicBezTo>
                    <a:pt x="183" y="166"/>
                    <a:pt x="210" y="114"/>
                    <a:pt x="170" y="95"/>
                  </a:cubicBezTo>
                  <a:cubicBezTo>
                    <a:pt x="135" y="77"/>
                    <a:pt x="95" y="95"/>
                    <a:pt x="59" y="131"/>
                  </a:cubicBezTo>
                  <a:cubicBezTo>
                    <a:pt x="7" y="185"/>
                    <a:pt x="0" y="257"/>
                    <a:pt x="41" y="276"/>
                  </a:cubicBezTo>
                  <a:cubicBezTo>
                    <a:pt x="87" y="296"/>
                    <a:pt x="146" y="263"/>
                    <a:pt x="179" y="227"/>
                  </a:cubicBezTo>
                  <a:cubicBezTo>
                    <a:pt x="179" y="230"/>
                    <a:pt x="178" y="234"/>
                    <a:pt x="178" y="237"/>
                  </a:cubicBezTo>
                  <a:cubicBezTo>
                    <a:pt x="178" y="248"/>
                    <a:pt x="180" y="263"/>
                    <a:pt x="190" y="270"/>
                  </a:cubicBezTo>
                  <a:cubicBezTo>
                    <a:pt x="223" y="293"/>
                    <a:pt x="273" y="248"/>
                    <a:pt x="292" y="221"/>
                  </a:cubicBezTo>
                  <a:cubicBezTo>
                    <a:pt x="295" y="218"/>
                    <a:pt x="281" y="218"/>
                    <a:pt x="278" y="220"/>
                  </a:cubicBezTo>
                  <a:cubicBezTo>
                    <a:pt x="266" y="229"/>
                    <a:pt x="241" y="255"/>
                    <a:pt x="232" y="247"/>
                  </a:cubicBezTo>
                  <a:cubicBezTo>
                    <a:pt x="222" y="237"/>
                    <a:pt x="266" y="151"/>
                    <a:pt x="298" y="100"/>
                  </a:cubicBezTo>
                  <a:cubicBezTo>
                    <a:pt x="318" y="98"/>
                    <a:pt x="344" y="100"/>
                    <a:pt x="356" y="99"/>
                  </a:cubicBezTo>
                  <a:moveTo>
                    <a:pt x="157" y="106"/>
                  </a:moveTo>
                  <a:cubicBezTo>
                    <a:pt x="167" y="109"/>
                    <a:pt x="145" y="149"/>
                    <a:pt x="131" y="163"/>
                  </a:cubicBezTo>
                  <a:cubicBezTo>
                    <a:pt x="105" y="189"/>
                    <a:pt x="74" y="184"/>
                    <a:pt x="74" y="184"/>
                  </a:cubicBezTo>
                  <a:cubicBezTo>
                    <a:pt x="86" y="146"/>
                    <a:pt x="141" y="103"/>
                    <a:pt x="157" y="10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6C6F70"/>
                </a:solidFill>
                <a:latin typeface="+mn-lt"/>
                <a:cs typeface="+mn-cs"/>
              </a:endParaRPr>
            </a:p>
          </p:txBody>
        </p:sp>
        <p:sp>
          <p:nvSpPr>
            <p:cNvPr id="10" name="Freeform 17"/>
            <p:cNvSpPr>
              <a:spLocks/>
            </p:cNvSpPr>
            <p:nvPr/>
          </p:nvSpPr>
          <p:spPr bwMode="auto">
            <a:xfrm>
              <a:off x="6942138" y="3554413"/>
              <a:ext cx="446088" cy="857250"/>
            </a:xfrm>
            <a:custGeom>
              <a:avLst/>
              <a:gdLst>
                <a:gd name="T0" fmla="*/ 116 w 119"/>
                <a:gd name="T1" fmla="*/ 26 h 229"/>
                <a:gd name="T2" fmla="*/ 74 w 119"/>
                <a:gd name="T3" fmla="*/ 0 h 229"/>
                <a:gd name="T4" fmla="*/ 9 w 119"/>
                <a:gd name="T5" fmla="*/ 169 h 229"/>
                <a:gd name="T6" fmla="*/ 12 w 119"/>
                <a:gd name="T7" fmla="*/ 223 h 229"/>
                <a:gd name="T8" fmla="*/ 26 w 119"/>
                <a:gd name="T9" fmla="*/ 214 h 229"/>
                <a:gd name="T10" fmla="*/ 111 w 119"/>
                <a:gd name="T11" fmla="*/ 56 h 229"/>
                <a:gd name="T12" fmla="*/ 116 w 119"/>
                <a:gd name="T13" fmla="*/ 2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9" h="229">
                  <a:moveTo>
                    <a:pt x="116" y="26"/>
                  </a:moveTo>
                  <a:cubicBezTo>
                    <a:pt x="109" y="16"/>
                    <a:pt x="84" y="2"/>
                    <a:pt x="74" y="0"/>
                  </a:cubicBezTo>
                  <a:cubicBezTo>
                    <a:pt x="56" y="44"/>
                    <a:pt x="29" y="104"/>
                    <a:pt x="9" y="169"/>
                  </a:cubicBezTo>
                  <a:cubicBezTo>
                    <a:pt x="3" y="189"/>
                    <a:pt x="0" y="214"/>
                    <a:pt x="12" y="223"/>
                  </a:cubicBezTo>
                  <a:cubicBezTo>
                    <a:pt x="20" y="229"/>
                    <a:pt x="23" y="221"/>
                    <a:pt x="26" y="214"/>
                  </a:cubicBezTo>
                  <a:cubicBezTo>
                    <a:pt x="54" y="152"/>
                    <a:pt x="107" y="63"/>
                    <a:pt x="111" y="56"/>
                  </a:cubicBezTo>
                  <a:cubicBezTo>
                    <a:pt x="119" y="42"/>
                    <a:pt x="119" y="30"/>
                    <a:pt x="116" y="2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6C6F70"/>
                </a:solidFill>
                <a:latin typeface="+mn-lt"/>
                <a:cs typeface="+mn-cs"/>
              </a:endParaRPr>
            </a:p>
          </p:txBody>
        </p:sp>
        <p:sp>
          <p:nvSpPr>
            <p:cNvPr id="11" name="Oval 18"/>
            <p:cNvSpPr>
              <a:spLocks noChangeArrowheads="1"/>
            </p:cNvSpPr>
            <p:nvPr/>
          </p:nvSpPr>
          <p:spPr bwMode="auto">
            <a:xfrm>
              <a:off x="6821488" y="4457700"/>
              <a:ext cx="195263" cy="195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6C6F70"/>
                </a:solidFill>
                <a:latin typeface="+mn-lt"/>
                <a:cs typeface="+mn-cs"/>
              </a:endParaRPr>
            </a:p>
          </p:txBody>
        </p:sp>
        <p:sp>
          <p:nvSpPr>
            <p:cNvPr id="12" name="Freeform 19"/>
            <p:cNvSpPr>
              <a:spLocks/>
            </p:cNvSpPr>
            <p:nvPr/>
          </p:nvSpPr>
          <p:spPr bwMode="auto">
            <a:xfrm>
              <a:off x="6532563" y="2725738"/>
              <a:ext cx="236538" cy="276225"/>
            </a:xfrm>
            <a:custGeom>
              <a:avLst/>
              <a:gdLst>
                <a:gd name="T0" fmla="*/ 11 w 63"/>
                <a:gd name="T1" fmla="*/ 74 h 74"/>
                <a:gd name="T2" fmla="*/ 63 w 63"/>
                <a:gd name="T3" fmla="*/ 30 h 74"/>
                <a:gd name="T4" fmla="*/ 45 w 63"/>
                <a:gd name="T5" fmla="*/ 6 h 74"/>
                <a:gd name="T6" fmla="*/ 30 w 63"/>
                <a:gd name="T7" fmla="*/ 52 h 74"/>
                <a:gd name="T8" fmla="*/ 4 w 63"/>
                <a:gd name="T9" fmla="*/ 68 h 74"/>
                <a:gd name="T10" fmla="*/ 11 w 63"/>
                <a:gd name="T11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74">
                  <a:moveTo>
                    <a:pt x="11" y="74"/>
                  </a:moveTo>
                  <a:cubicBezTo>
                    <a:pt x="36" y="74"/>
                    <a:pt x="59" y="61"/>
                    <a:pt x="63" y="30"/>
                  </a:cubicBezTo>
                  <a:cubicBezTo>
                    <a:pt x="63" y="27"/>
                    <a:pt x="63" y="9"/>
                    <a:pt x="45" y="6"/>
                  </a:cubicBezTo>
                  <a:cubicBezTo>
                    <a:pt x="10" y="0"/>
                    <a:pt x="2" y="45"/>
                    <a:pt x="30" y="52"/>
                  </a:cubicBezTo>
                  <a:cubicBezTo>
                    <a:pt x="25" y="63"/>
                    <a:pt x="14" y="66"/>
                    <a:pt x="4" y="68"/>
                  </a:cubicBezTo>
                  <a:cubicBezTo>
                    <a:pt x="0" y="69"/>
                    <a:pt x="7" y="74"/>
                    <a:pt x="11" y="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6C6F70"/>
                </a:solidFill>
                <a:latin typeface="+mn-lt"/>
                <a:cs typeface="+mn-cs"/>
              </a:endParaRPr>
            </a:p>
          </p:txBody>
        </p:sp>
        <p:sp>
          <p:nvSpPr>
            <p:cNvPr id="13" name="Freeform 20"/>
            <p:cNvSpPr>
              <a:spLocks noEditPoints="1"/>
            </p:cNvSpPr>
            <p:nvPr/>
          </p:nvSpPr>
          <p:spPr bwMode="auto">
            <a:xfrm>
              <a:off x="5899150" y="3789363"/>
              <a:ext cx="1158875" cy="952500"/>
            </a:xfrm>
            <a:custGeom>
              <a:avLst/>
              <a:gdLst>
                <a:gd name="T0" fmla="*/ 233 w 309"/>
                <a:gd name="T1" fmla="*/ 53 h 254"/>
                <a:gd name="T2" fmla="*/ 104 w 309"/>
                <a:gd name="T3" fmla="*/ 226 h 254"/>
                <a:gd name="T4" fmla="*/ 233 w 309"/>
                <a:gd name="T5" fmla="*/ 53 h 254"/>
                <a:gd name="T6" fmla="*/ 194 w 309"/>
                <a:gd name="T7" fmla="*/ 150 h 254"/>
                <a:gd name="T8" fmla="*/ 176 w 309"/>
                <a:gd name="T9" fmla="*/ 175 h 254"/>
                <a:gd name="T10" fmla="*/ 156 w 309"/>
                <a:gd name="T11" fmla="*/ 193 h 254"/>
                <a:gd name="T12" fmla="*/ 124 w 309"/>
                <a:gd name="T13" fmla="*/ 207 h 254"/>
                <a:gd name="T14" fmla="*/ 133 w 309"/>
                <a:gd name="T15" fmla="*/ 119 h 254"/>
                <a:gd name="T16" fmla="*/ 211 w 309"/>
                <a:gd name="T17" fmla="*/ 60 h 254"/>
                <a:gd name="T18" fmla="*/ 194 w 309"/>
                <a:gd name="T19" fmla="*/ 15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9" h="254">
                  <a:moveTo>
                    <a:pt x="233" y="53"/>
                  </a:moveTo>
                  <a:cubicBezTo>
                    <a:pt x="109" y="0"/>
                    <a:pt x="0" y="199"/>
                    <a:pt x="104" y="226"/>
                  </a:cubicBezTo>
                  <a:cubicBezTo>
                    <a:pt x="204" y="254"/>
                    <a:pt x="309" y="89"/>
                    <a:pt x="233" y="53"/>
                  </a:cubicBezTo>
                  <a:moveTo>
                    <a:pt x="194" y="150"/>
                  </a:moveTo>
                  <a:cubicBezTo>
                    <a:pt x="190" y="158"/>
                    <a:pt x="184" y="166"/>
                    <a:pt x="176" y="175"/>
                  </a:cubicBezTo>
                  <a:cubicBezTo>
                    <a:pt x="169" y="183"/>
                    <a:pt x="162" y="189"/>
                    <a:pt x="156" y="193"/>
                  </a:cubicBezTo>
                  <a:cubicBezTo>
                    <a:pt x="145" y="201"/>
                    <a:pt x="134" y="207"/>
                    <a:pt x="124" y="207"/>
                  </a:cubicBezTo>
                  <a:cubicBezTo>
                    <a:pt x="99" y="206"/>
                    <a:pt x="103" y="159"/>
                    <a:pt x="133" y="119"/>
                  </a:cubicBezTo>
                  <a:cubicBezTo>
                    <a:pt x="155" y="87"/>
                    <a:pt x="188" y="49"/>
                    <a:pt x="211" y="60"/>
                  </a:cubicBezTo>
                  <a:cubicBezTo>
                    <a:pt x="229" y="69"/>
                    <a:pt x="218" y="109"/>
                    <a:pt x="194" y="15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6C6F70"/>
                </a:solidFill>
                <a:latin typeface="+mn-lt"/>
                <a:cs typeface="+mn-cs"/>
              </a:endParaRPr>
            </a:p>
          </p:txBody>
        </p:sp>
        <p:sp>
          <p:nvSpPr>
            <p:cNvPr id="14" name="Freeform 21"/>
            <p:cNvSpPr>
              <a:spLocks noEditPoints="1"/>
            </p:cNvSpPr>
            <p:nvPr/>
          </p:nvSpPr>
          <p:spPr bwMode="auto">
            <a:xfrm>
              <a:off x="5295900" y="3910013"/>
              <a:ext cx="936625" cy="1019175"/>
            </a:xfrm>
            <a:custGeom>
              <a:avLst/>
              <a:gdLst>
                <a:gd name="T0" fmla="*/ 210 w 250"/>
                <a:gd name="T1" fmla="*/ 32 h 272"/>
                <a:gd name="T2" fmla="*/ 192 w 250"/>
                <a:gd name="T3" fmla="*/ 6 h 272"/>
                <a:gd name="T4" fmla="*/ 66 w 250"/>
                <a:gd name="T5" fmla="*/ 62 h 272"/>
                <a:gd name="T6" fmla="*/ 42 w 250"/>
                <a:gd name="T7" fmla="*/ 176 h 272"/>
                <a:gd name="T8" fmla="*/ 147 w 250"/>
                <a:gd name="T9" fmla="*/ 130 h 272"/>
                <a:gd name="T10" fmla="*/ 115 w 250"/>
                <a:gd name="T11" fmla="*/ 196 h 272"/>
                <a:gd name="T12" fmla="*/ 60 w 250"/>
                <a:gd name="T13" fmla="*/ 245 h 272"/>
                <a:gd name="T14" fmla="*/ 18 w 250"/>
                <a:gd name="T15" fmla="*/ 209 h 272"/>
                <a:gd name="T16" fmla="*/ 0 w 250"/>
                <a:gd name="T17" fmla="*/ 226 h 272"/>
                <a:gd name="T18" fmla="*/ 66 w 250"/>
                <a:gd name="T19" fmla="*/ 266 h 272"/>
                <a:gd name="T20" fmla="*/ 197 w 250"/>
                <a:gd name="T21" fmla="*/ 124 h 272"/>
                <a:gd name="T22" fmla="*/ 247 w 250"/>
                <a:gd name="T23" fmla="*/ 34 h 272"/>
                <a:gd name="T24" fmla="*/ 213 w 250"/>
                <a:gd name="T25" fmla="*/ 29 h 272"/>
                <a:gd name="T26" fmla="*/ 210 w 250"/>
                <a:gd name="T27" fmla="*/ 32 h 272"/>
                <a:gd name="T28" fmla="*/ 182 w 250"/>
                <a:gd name="T29" fmla="*/ 59 h 272"/>
                <a:gd name="T30" fmla="*/ 86 w 250"/>
                <a:gd name="T31" fmla="*/ 136 h 272"/>
                <a:gd name="T32" fmla="*/ 116 w 250"/>
                <a:gd name="T33" fmla="*/ 59 h 272"/>
                <a:gd name="T34" fmla="*/ 182 w 250"/>
                <a:gd name="T35" fmla="*/ 59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50" h="272">
                  <a:moveTo>
                    <a:pt x="210" y="32"/>
                  </a:moveTo>
                  <a:cubicBezTo>
                    <a:pt x="210" y="32"/>
                    <a:pt x="208" y="13"/>
                    <a:pt x="192" y="6"/>
                  </a:cubicBezTo>
                  <a:cubicBezTo>
                    <a:pt x="176" y="0"/>
                    <a:pt x="113" y="4"/>
                    <a:pt x="66" y="62"/>
                  </a:cubicBezTo>
                  <a:cubicBezTo>
                    <a:pt x="27" y="110"/>
                    <a:pt x="19" y="153"/>
                    <a:pt x="42" y="176"/>
                  </a:cubicBezTo>
                  <a:cubicBezTo>
                    <a:pt x="59" y="193"/>
                    <a:pt x="103" y="189"/>
                    <a:pt x="147" y="130"/>
                  </a:cubicBezTo>
                  <a:cubicBezTo>
                    <a:pt x="147" y="133"/>
                    <a:pt x="120" y="187"/>
                    <a:pt x="115" y="196"/>
                  </a:cubicBezTo>
                  <a:cubicBezTo>
                    <a:pt x="99" y="225"/>
                    <a:pt x="73" y="243"/>
                    <a:pt x="60" y="245"/>
                  </a:cubicBezTo>
                  <a:cubicBezTo>
                    <a:pt x="25" y="251"/>
                    <a:pt x="20" y="223"/>
                    <a:pt x="18" y="209"/>
                  </a:cubicBezTo>
                  <a:cubicBezTo>
                    <a:pt x="18" y="208"/>
                    <a:pt x="0" y="209"/>
                    <a:pt x="0" y="226"/>
                  </a:cubicBezTo>
                  <a:cubicBezTo>
                    <a:pt x="0" y="248"/>
                    <a:pt x="26" y="272"/>
                    <a:pt x="66" y="266"/>
                  </a:cubicBezTo>
                  <a:cubicBezTo>
                    <a:pt x="139" y="255"/>
                    <a:pt x="166" y="198"/>
                    <a:pt x="197" y="124"/>
                  </a:cubicBezTo>
                  <a:cubicBezTo>
                    <a:pt x="202" y="113"/>
                    <a:pt x="226" y="61"/>
                    <a:pt x="247" y="34"/>
                  </a:cubicBezTo>
                  <a:cubicBezTo>
                    <a:pt x="250" y="29"/>
                    <a:pt x="219" y="22"/>
                    <a:pt x="213" y="29"/>
                  </a:cubicBezTo>
                  <a:lnTo>
                    <a:pt x="210" y="32"/>
                  </a:lnTo>
                  <a:close/>
                  <a:moveTo>
                    <a:pt x="182" y="59"/>
                  </a:moveTo>
                  <a:cubicBezTo>
                    <a:pt x="151" y="106"/>
                    <a:pt x="103" y="160"/>
                    <a:pt x="86" y="136"/>
                  </a:cubicBezTo>
                  <a:cubicBezTo>
                    <a:pt x="80" y="126"/>
                    <a:pt x="83" y="101"/>
                    <a:pt x="116" y="59"/>
                  </a:cubicBezTo>
                  <a:cubicBezTo>
                    <a:pt x="157" y="7"/>
                    <a:pt x="208" y="19"/>
                    <a:pt x="182" y="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solidFill>
                  <a:srgbClr val="6C6F70"/>
                </a:solidFill>
                <a:latin typeface="+mn-lt"/>
                <a:cs typeface="+mn-cs"/>
              </a:endParaRPr>
            </a:p>
          </p:txBody>
        </p:sp>
      </p:grpSp>
      <p:pic>
        <p:nvPicPr>
          <p:cNvPr id="15" name="Picture 3" descr="F:\00_eldorado\Thomas Cook\07 TCLC 09.2013\00 brand design\logos\00 Group\ThomasCook_hori_office.pn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1668" y="723903"/>
            <a:ext cx="3121421" cy="398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0585" y="4068356"/>
            <a:ext cx="8420100" cy="705321"/>
          </a:xfrm>
        </p:spPr>
        <p:txBody>
          <a:bodyPr anchor="ctr"/>
          <a:lstStyle>
            <a:lvl1pPr algn="l">
              <a:defRPr sz="50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0585" y="6328726"/>
            <a:ext cx="6934200" cy="276999"/>
          </a:xfrm>
          <a:prstGeom prst="rect">
            <a:avLst/>
          </a:prstGeom>
        </p:spPr>
        <p:txBody>
          <a:bodyPr anchor="b"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457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50602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E035DE-2FDD-482B-8141-89C2F40E28F0}" type="datetime1">
              <a:rPr lang="en-GB"/>
              <a:pPr>
                <a:defRPr/>
              </a:pPr>
              <a:t>24/05/2017</a:t>
            </a:fld>
            <a:endParaRPr lang="en-GB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B90B9E-B044-44EB-8896-7B9B81D6B95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8998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9616495" y="6581825"/>
            <a:ext cx="15078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D49356F6-EBEB-457B-A0BD-B944AA524681}" type="slidenum">
              <a:rPr lang="en-US" smtClean="0">
                <a:solidFill>
                  <a:srgbClr val="6C6F70"/>
                </a:solidFill>
              </a:rPr>
              <a:pPr algn="ctr">
                <a:defRPr/>
              </a:pPr>
              <a:t>‹#›</a:t>
            </a:fld>
            <a:endParaRPr lang="en-US" dirty="0">
              <a:solidFill>
                <a:srgbClr val="6C6F70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42199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9616495" y="6581825"/>
            <a:ext cx="15078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FAEC7AFE-3BC1-4DA1-BEE6-5B1ABB5D7308}" type="slidenum">
              <a:rPr lang="en-US" smtClean="0">
                <a:solidFill>
                  <a:srgbClr val="6C6F70"/>
                </a:solidFill>
              </a:rPr>
              <a:pPr algn="ctr">
                <a:defRPr/>
              </a:pPr>
              <a:t>‹#›</a:t>
            </a:fld>
            <a:endParaRPr lang="en-US" dirty="0">
              <a:solidFill>
                <a:srgbClr val="6C6F70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04966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9616495" y="6581825"/>
            <a:ext cx="15078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6E3B5C4A-5D07-4F9F-9948-F3CE1ADE56F1}" type="slidenum">
              <a:rPr lang="en-US" smtClean="0">
                <a:solidFill>
                  <a:srgbClr val="6C6F70"/>
                </a:solidFill>
              </a:rPr>
              <a:pPr algn="ctr">
                <a:defRPr/>
              </a:pPr>
              <a:t>‹#›</a:t>
            </a:fld>
            <a:endParaRPr lang="en-US" dirty="0">
              <a:solidFill>
                <a:srgbClr val="6C6F70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07018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9616495" y="6581825"/>
            <a:ext cx="15078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FF91581E-0494-4DC5-A6E7-32A4D0A13BFC}" type="slidenum">
              <a:rPr lang="en-US" smtClean="0">
                <a:solidFill>
                  <a:srgbClr val="6C6F70"/>
                </a:solidFill>
              </a:rPr>
              <a:pPr algn="ctr">
                <a:defRPr/>
              </a:pPr>
              <a:t>‹#›</a:t>
            </a:fld>
            <a:endParaRPr lang="en-US" dirty="0">
              <a:solidFill>
                <a:srgbClr val="6C6F70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52391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9616495" y="6581825"/>
            <a:ext cx="15078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EEBA36F6-CEFB-49F6-B0C2-D649BDEB85CC}" type="slidenum">
              <a:rPr lang="en-US" smtClean="0">
                <a:solidFill>
                  <a:srgbClr val="6C6F70"/>
                </a:solidFill>
              </a:rPr>
              <a:pPr algn="ctr">
                <a:defRPr/>
              </a:pPr>
              <a:t>‹#›</a:t>
            </a:fld>
            <a:endParaRPr lang="en-US" dirty="0">
              <a:solidFill>
                <a:srgbClr val="6C6F70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53128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9616495" y="6581825"/>
            <a:ext cx="15078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BC613C8C-A9C8-4FE4-AB5A-903D422C99AA}" type="slidenum">
              <a:rPr lang="en-US" smtClean="0">
                <a:solidFill>
                  <a:srgbClr val="6C6F70"/>
                </a:solidFill>
              </a:rPr>
              <a:pPr algn="ctr">
                <a:defRPr/>
              </a:pPr>
              <a:t>‹#›</a:t>
            </a:fld>
            <a:endParaRPr lang="en-US" dirty="0">
              <a:solidFill>
                <a:srgbClr val="6C6F70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6058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9616495" y="6581825"/>
            <a:ext cx="15078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CA8E3634-9E8D-4851-BAE9-8D0DFA6ECA30}" type="slidenum">
              <a:rPr lang="en-US" smtClean="0">
                <a:solidFill>
                  <a:srgbClr val="6C6F70"/>
                </a:solidFill>
              </a:rPr>
              <a:pPr algn="ctr">
                <a:defRPr/>
              </a:pPr>
              <a:t>‹#›</a:t>
            </a:fld>
            <a:endParaRPr lang="en-US" dirty="0">
              <a:solidFill>
                <a:srgbClr val="6C6F70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49099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9616495" y="6581825"/>
            <a:ext cx="15078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19344E25-3AC7-4AFE-8896-4C8D26C39BB2}" type="slidenum">
              <a:rPr lang="en-US" smtClean="0">
                <a:solidFill>
                  <a:srgbClr val="6C6F70"/>
                </a:solidFill>
              </a:rPr>
              <a:pPr algn="ctr">
                <a:defRPr/>
              </a:pPr>
              <a:t>‹#›</a:t>
            </a:fld>
            <a:endParaRPr lang="en-US" dirty="0">
              <a:solidFill>
                <a:srgbClr val="6C6F70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43092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9616495" y="6581825"/>
            <a:ext cx="15078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9CE61232-7310-4C7B-8094-F2CA3F3FC831}" type="slidenum">
              <a:rPr lang="en-US" smtClean="0">
                <a:solidFill>
                  <a:srgbClr val="6C6F70"/>
                </a:solidFill>
              </a:rPr>
              <a:pPr algn="ctr">
                <a:defRPr/>
              </a:pPr>
              <a:t>‹#›</a:t>
            </a:fld>
            <a:endParaRPr lang="en-US" dirty="0">
              <a:solidFill>
                <a:srgbClr val="6C6F70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76426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43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2"/>
          <p:cNvSpPr/>
          <p:nvPr userDrawn="1"/>
        </p:nvSpPr>
        <p:spPr>
          <a:xfrm>
            <a:off x="0" y="3175"/>
            <a:ext cx="9914600" cy="611505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8501" y="692320"/>
            <a:ext cx="9009000" cy="50783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13"/>
          </p:nvPr>
        </p:nvSpPr>
        <p:spPr>
          <a:xfrm>
            <a:off x="10" y="1684927"/>
            <a:ext cx="5417344" cy="525876"/>
          </a:xfrm>
          <a:prstGeom prst="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431962" tIns="107990" bIns="107990" spcCol="0" rtlCol="0" fromWordArt="0" anchor="ctr" forceAA="0"/>
          <a:lstStyle>
            <a:lvl1pPr marL="0" indent="0">
              <a:buFont typeface="Arial" panose="020B0604020202020204" pitchFamily="34" charset="0"/>
              <a:buNone/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4"/>
          </p:nvPr>
        </p:nvSpPr>
        <p:spPr>
          <a:xfrm>
            <a:off x="3446" y="2319977"/>
            <a:ext cx="5413579" cy="52588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431962" tIns="107990" bIns="107990" spcCol="0" rtlCol="0" fromWordArt="0" anchor="ctr" forceAA="0"/>
          <a:lstStyle>
            <a:lvl1pPr marL="215981" indent="-215981">
              <a:buNone/>
              <a:defRPr lang="de-DE" sz="2000" smtClean="0">
                <a:solidFill>
                  <a:schemeClr val="accent2">
                    <a:lumMod val="75000"/>
                  </a:schemeClr>
                </a:solidFill>
              </a:defRPr>
            </a:lvl1pPr>
            <a:lvl2pPr>
              <a:defRPr lang="de-DE" smtClean="0">
                <a:solidFill>
                  <a:schemeClr val="lt1"/>
                </a:solidFill>
              </a:defRPr>
            </a:lvl2pPr>
            <a:lvl3pPr>
              <a:defRPr lang="de-DE" smtClean="0">
                <a:solidFill>
                  <a:schemeClr val="lt1"/>
                </a:solidFill>
              </a:defRPr>
            </a:lvl3pPr>
            <a:lvl4pPr>
              <a:defRPr lang="de-DE" smtClean="0">
                <a:solidFill>
                  <a:schemeClr val="lt1"/>
                </a:solidFill>
              </a:defRPr>
            </a:lvl4pPr>
            <a:lvl5pPr>
              <a:defRPr lang="en-US">
                <a:solidFill>
                  <a:schemeClr val="lt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6DE596-B4DF-4386-92C0-5412CEF686A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776145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9616495" y="6581825"/>
            <a:ext cx="15078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371372F6-A977-4C29-A8F6-5A21994ED808}" type="slidenum">
              <a:rPr lang="en-US" smtClean="0">
                <a:solidFill>
                  <a:srgbClr val="6C6F70"/>
                </a:solidFill>
              </a:rPr>
              <a:pPr algn="ctr">
                <a:defRPr/>
              </a:pPr>
              <a:t>‹#›</a:t>
            </a:fld>
            <a:endParaRPr lang="en-US" dirty="0">
              <a:solidFill>
                <a:srgbClr val="6C6F70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134749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9616495" y="6581825"/>
            <a:ext cx="15078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C06C1A1B-9773-4D0F-B14B-F657BA56411D}" type="slidenum">
              <a:rPr lang="en-US" smtClean="0">
                <a:solidFill>
                  <a:srgbClr val="6C6F70"/>
                </a:solidFill>
              </a:rPr>
              <a:pPr algn="ctr">
                <a:defRPr/>
              </a:pPr>
              <a:t>‹#›</a:t>
            </a:fld>
            <a:endParaRPr lang="en-US" dirty="0">
              <a:solidFill>
                <a:srgbClr val="6C6F70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998054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9616495" y="6581825"/>
            <a:ext cx="15078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D986A908-7F45-4781-AF3B-D6EC1507A5F3}" type="slidenum">
              <a:rPr lang="en-US" smtClean="0">
                <a:solidFill>
                  <a:srgbClr val="6C6F70"/>
                </a:solidFill>
              </a:rPr>
              <a:pPr algn="ctr">
                <a:defRPr/>
              </a:pPr>
              <a:t>‹#›</a:t>
            </a:fld>
            <a:endParaRPr lang="en-US" dirty="0">
              <a:solidFill>
                <a:srgbClr val="6C6F70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65914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3"/>
          <a:ext cx="175419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93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292"/>
                      <p:cNvPicPr>
                        <a:picLocks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3"/>
                        <a:ext cx="175419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/>
          <p:cNvSpPr>
            <a:spLocks noChangeArrowheads="1"/>
          </p:cNvSpPr>
          <p:nvPr/>
        </p:nvSpPr>
        <p:spPr bwMode="auto">
          <a:xfrm>
            <a:off x="8739981" y="36513"/>
            <a:ext cx="724033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912813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912813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912813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912813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9001462" y="2562892"/>
            <a:ext cx="165429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dirty="0" smtClean="0">
                <a:solidFill>
                  <a:srgbClr val="6C6F70"/>
                </a:solidFill>
                <a:latin typeface="Calibri"/>
                <a:cs typeface="+mn-cs"/>
              </a:rPr>
              <a:t>Last Modified 05/12/2013 06:36 GMT Standard Time</a:t>
            </a:r>
            <a:endParaRPr lang="en-US" dirty="0" smtClean="0">
              <a:solidFill>
                <a:srgbClr val="6C6F70"/>
              </a:solidFill>
              <a:latin typeface="Calibri"/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9037866" y="4780629"/>
            <a:ext cx="15814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6C6F70"/>
                </a:solidFill>
                <a:latin typeface="Calibri"/>
                <a:cs typeface="+mn-cs"/>
              </a:rPr>
              <a:t>Printed 10/28/2013 11:12 AM GMT Standard Time</a:t>
            </a:r>
            <a:endParaRPr lang="en-US" dirty="0" smtClean="0">
              <a:solidFill>
                <a:srgbClr val="6C6F70"/>
              </a:solidFill>
              <a:latin typeface="Calibri"/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441989" y="26988"/>
            <a:ext cx="66300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808080"/>
                </a:solidFill>
                <a:latin typeface="Calibri" pitchFamily="34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441989" y="1117603"/>
            <a:ext cx="9022027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Calibri"/>
                <a:cs typeface="+mn-cs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441989" y="6026150"/>
            <a:ext cx="9022027" cy="381000"/>
            <a:chOff x="75" y="3915"/>
            <a:chExt cx="5385" cy="23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15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5250" indent="-95250">
                <a:defRPr/>
              </a:pPr>
              <a:r>
                <a:rPr lang="en-US" sz="1000" dirty="0" smtClean="0">
                  <a:solidFill>
                    <a:srgbClr val="6C6F70"/>
                  </a:solidFill>
                  <a:latin typeface="Calibri"/>
                  <a:cs typeface="+mn-cs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379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485775" indent="-485775" defTabSz="91281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91281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91281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91281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91281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sz="1000" dirty="0">
                  <a:solidFill>
                    <a:srgbClr val="6C6F70"/>
                  </a:solidFill>
                  <a:latin typeface="Calibri" pitchFamily="34" charset="0"/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25158" y="2032003"/>
            <a:ext cx="4713950" cy="519113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b="1" dirty="0">
                  <a:solidFill>
                    <a:srgbClr val="6C6F70"/>
                  </a:solidFill>
                  <a:latin typeface="Calibri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US" dirty="0">
                  <a:solidFill>
                    <a:srgbClr val="808080"/>
                  </a:solidFill>
                  <a:latin typeface="Calibri" pitchFamily="34" charset="0"/>
                </a:rPr>
                <a:t>Unit of measure</a:t>
              </a:r>
            </a:p>
          </p:txBody>
        </p:sp>
      </p:grpSp>
      <p:sp>
        <p:nvSpPr>
          <p:cNvPr id="15" name="Line 8"/>
          <p:cNvSpPr>
            <a:spLocks noChangeShapeType="1"/>
          </p:cNvSpPr>
          <p:nvPr/>
        </p:nvSpPr>
        <p:spPr bwMode="auto">
          <a:xfrm>
            <a:off x="441989" y="1109663"/>
            <a:ext cx="9022027" cy="0"/>
          </a:xfrm>
          <a:prstGeom prst="line">
            <a:avLst/>
          </a:prstGeom>
          <a:noFill/>
          <a:ln w="19050">
            <a:solidFill>
              <a:srgbClr val="F8AC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dirty="0"/>
          </a:p>
        </p:txBody>
      </p:sp>
      <p:pic>
        <p:nvPicPr>
          <p:cNvPr id="16" name="Picture 3" descr="F:\00_eldorado\Thomas Cook\07 TCLC 09.2013\00 brand design\logos\00 Group\ThomasCook_hori_office.png"/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99509" y="6494466"/>
            <a:ext cx="1755907" cy="22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7" name="Gruppieren 10"/>
          <p:cNvGrpSpPr>
            <a:grpSpLocks noChangeAspect="1"/>
          </p:cNvGrpSpPr>
          <p:nvPr/>
        </p:nvGrpSpPr>
        <p:grpSpPr bwMode="auto">
          <a:xfrm>
            <a:off x="440944" y="6505360"/>
            <a:ext cx="975000" cy="256646"/>
            <a:chOff x="4741863" y="3397250"/>
            <a:chExt cx="3284537" cy="936625"/>
          </a:xfrm>
          <a:solidFill>
            <a:srgbClr val="6C6F70"/>
          </a:solidFill>
        </p:grpSpPr>
        <p:sp>
          <p:nvSpPr>
            <p:cNvPr id="18" name="Freeform 19"/>
            <p:cNvSpPr>
              <a:spLocks/>
            </p:cNvSpPr>
            <p:nvPr/>
          </p:nvSpPr>
          <p:spPr bwMode="auto">
            <a:xfrm>
              <a:off x="6073775" y="3670300"/>
              <a:ext cx="457200" cy="490538"/>
            </a:xfrm>
            <a:custGeom>
              <a:avLst/>
              <a:gdLst>
                <a:gd name="T0" fmla="*/ 92 w 122"/>
                <a:gd name="T1" fmla="*/ 0 h 131"/>
                <a:gd name="T2" fmla="*/ 35 w 122"/>
                <a:gd name="T3" fmla="*/ 28 h 131"/>
                <a:gd name="T4" fmla="*/ 25 w 122"/>
                <a:gd name="T5" fmla="*/ 43 h 131"/>
                <a:gd name="T6" fmla="*/ 45 w 122"/>
                <a:gd name="T7" fmla="*/ 86 h 131"/>
                <a:gd name="T8" fmla="*/ 60 w 122"/>
                <a:gd name="T9" fmla="*/ 99 h 131"/>
                <a:gd name="T10" fmla="*/ 60 w 122"/>
                <a:gd name="T11" fmla="*/ 109 h 131"/>
                <a:gd name="T12" fmla="*/ 17 w 122"/>
                <a:gd name="T13" fmla="*/ 111 h 131"/>
                <a:gd name="T14" fmla="*/ 2 w 122"/>
                <a:gd name="T15" fmla="*/ 101 h 131"/>
                <a:gd name="T16" fmla="*/ 1 w 122"/>
                <a:gd name="T17" fmla="*/ 103 h 131"/>
                <a:gd name="T18" fmla="*/ 2 w 122"/>
                <a:gd name="T19" fmla="*/ 109 h 131"/>
                <a:gd name="T20" fmla="*/ 12 w 122"/>
                <a:gd name="T21" fmla="*/ 119 h 131"/>
                <a:gd name="T22" fmla="*/ 64 w 122"/>
                <a:gd name="T23" fmla="*/ 129 h 131"/>
                <a:gd name="T24" fmla="*/ 80 w 122"/>
                <a:gd name="T25" fmla="*/ 84 h 131"/>
                <a:gd name="T26" fmla="*/ 62 w 122"/>
                <a:gd name="T27" fmla="*/ 46 h 131"/>
                <a:gd name="T28" fmla="*/ 72 w 122"/>
                <a:gd name="T29" fmla="*/ 31 h 131"/>
                <a:gd name="T30" fmla="*/ 110 w 122"/>
                <a:gd name="T31" fmla="*/ 26 h 131"/>
                <a:gd name="T32" fmla="*/ 112 w 122"/>
                <a:gd name="T33" fmla="*/ 34 h 131"/>
                <a:gd name="T34" fmla="*/ 121 w 122"/>
                <a:gd name="T35" fmla="*/ 36 h 131"/>
                <a:gd name="T36" fmla="*/ 121 w 122"/>
                <a:gd name="T37" fmla="*/ 21 h 131"/>
                <a:gd name="T38" fmla="*/ 92 w 122"/>
                <a:gd name="T39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2" h="131">
                  <a:moveTo>
                    <a:pt x="92" y="0"/>
                  </a:moveTo>
                  <a:cubicBezTo>
                    <a:pt x="71" y="0"/>
                    <a:pt x="49" y="12"/>
                    <a:pt x="35" y="28"/>
                  </a:cubicBezTo>
                  <a:cubicBezTo>
                    <a:pt x="31" y="32"/>
                    <a:pt x="27" y="38"/>
                    <a:pt x="25" y="43"/>
                  </a:cubicBezTo>
                  <a:cubicBezTo>
                    <a:pt x="17" y="61"/>
                    <a:pt x="31" y="78"/>
                    <a:pt x="45" y="86"/>
                  </a:cubicBezTo>
                  <a:cubicBezTo>
                    <a:pt x="51" y="89"/>
                    <a:pt x="57" y="93"/>
                    <a:pt x="60" y="99"/>
                  </a:cubicBezTo>
                  <a:cubicBezTo>
                    <a:pt x="61" y="102"/>
                    <a:pt x="61" y="106"/>
                    <a:pt x="60" y="109"/>
                  </a:cubicBezTo>
                  <a:cubicBezTo>
                    <a:pt x="52" y="119"/>
                    <a:pt x="24" y="114"/>
                    <a:pt x="17" y="111"/>
                  </a:cubicBezTo>
                  <a:cubicBezTo>
                    <a:pt x="11" y="108"/>
                    <a:pt x="7" y="104"/>
                    <a:pt x="2" y="101"/>
                  </a:cubicBezTo>
                  <a:cubicBezTo>
                    <a:pt x="2" y="101"/>
                    <a:pt x="1" y="101"/>
                    <a:pt x="1" y="103"/>
                  </a:cubicBezTo>
                  <a:cubicBezTo>
                    <a:pt x="0" y="105"/>
                    <a:pt x="0" y="107"/>
                    <a:pt x="2" y="109"/>
                  </a:cubicBezTo>
                  <a:cubicBezTo>
                    <a:pt x="4" y="113"/>
                    <a:pt x="8" y="116"/>
                    <a:pt x="12" y="119"/>
                  </a:cubicBezTo>
                  <a:cubicBezTo>
                    <a:pt x="27" y="128"/>
                    <a:pt x="46" y="131"/>
                    <a:pt x="64" y="129"/>
                  </a:cubicBezTo>
                  <a:cubicBezTo>
                    <a:pt x="93" y="125"/>
                    <a:pt x="97" y="100"/>
                    <a:pt x="80" y="84"/>
                  </a:cubicBezTo>
                  <a:cubicBezTo>
                    <a:pt x="67" y="73"/>
                    <a:pt x="55" y="65"/>
                    <a:pt x="62" y="46"/>
                  </a:cubicBezTo>
                  <a:cubicBezTo>
                    <a:pt x="64" y="40"/>
                    <a:pt x="68" y="35"/>
                    <a:pt x="72" y="31"/>
                  </a:cubicBezTo>
                  <a:cubicBezTo>
                    <a:pt x="80" y="23"/>
                    <a:pt x="107" y="7"/>
                    <a:pt x="110" y="26"/>
                  </a:cubicBezTo>
                  <a:cubicBezTo>
                    <a:pt x="110" y="30"/>
                    <a:pt x="110" y="31"/>
                    <a:pt x="112" y="34"/>
                  </a:cubicBezTo>
                  <a:cubicBezTo>
                    <a:pt x="113" y="36"/>
                    <a:pt x="118" y="39"/>
                    <a:pt x="121" y="36"/>
                  </a:cubicBezTo>
                  <a:cubicBezTo>
                    <a:pt x="121" y="36"/>
                    <a:pt x="122" y="25"/>
                    <a:pt x="121" y="21"/>
                  </a:cubicBezTo>
                  <a:cubicBezTo>
                    <a:pt x="118" y="10"/>
                    <a:pt x="97" y="0"/>
                    <a:pt x="9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9" name="Freeform 20"/>
            <p:cNvSpPr>
              <a:spLocks/>
            </p:cNvSpPr>
            <p:nvPr/>
          </p:nvSpPr>
          <p:spPr bwMode="auto">
            <a:xfrm>
              <a:off x="4741863" y="3397250"/>
              <a:ext cx="522287" cy="793750"/>
            </a:xfrm>
            <a:custGeom>
              <a:avLst/>
              <a:gdLst>
                <a:gd name="T0" fmla="*/ 122 w 139"/>
                <a:gd name="T1" fmla="*/ 186 h 212"/>
                <a:gd name="T2" fmla="*/ 41 w 139"/>
                <a:gd name="T3" fmla="*/ 190 h 212"/>
                <a:gd name="T4" fmla="*/ 115 w 139"/>
                <a:gd name="T5" fmla="*/ 58 h 212"/>
                <a:gd name="T6" fmla="*/ 132 w 139"/>
                <a:gd name="T7" fmla="*/ 25 h 212"/>
                <a:gd name="T8" fmla="*/ 131 w 139"/>
                <a:gd name="T9" fmla="*/ 17 h 212"/>
                <a:gd name="T10" fmla="*/ 118 w 139"/>
                <a:gd name="T11" fmla="*/ 0 h 212"/>
                <a:gd name="T12" fmla="*/ 114 w 139"/>
                <a:gd name="T13" fmla="*/ 1 h 212"/>
                <a:gd name="T14" fmla="*/ 101 w 139"/>
                <a:gd name="T15" fmla="*/ 18 h 212"/>
                <a:gd name="T16" fmla="*/ 50 w 139"/>
                <a:gd name="T17" fmla="*/ 92 h 212"/>
                <a:gd name="T18" fmla="*/ 29 w 139"/>
                <a:gd name="T19" fmla="*/ 128 h 212"/>
                <a:gd name="T20" fmla="*/ 6 w 139"/>
                <a:gd name="T21" fmla="*/ 172 h 212"/>
                <a:gd name="T22" fmla="*/ 23 w 139"/>
                <a:gd name="T23" fmla="*/ 208 h 212"/>
                <a:gd name="T24" fmla="*/ 31 w 139"/>
                <a:gd name="T25" fmla="*/ 212 h 212"/>
                <a:gd name="T26" fmla="*/ 136 w 139"/>
                <a:gd name="T27" fmla="*/ 198 h 212"/>
                <a:gd name="T28" fmla="*/ 122 w 139"/>
                <a:gd name="T29" fmla="*/ 186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9" h="212">
                  <a:moveTo>
                    <a:pt x="122" y="186"/>
                  </a:moveTo>
                  <a:cubicBezTo>
                    <a:pt x="97" y="180"/>
                    <a:pt x="64" y="188"/>
                    <a:pt x="41" y="190"/>
                  </a:cubicBezTo>
                  <a:cubicBezTo>
                    <a:pt x="61" y="154"/>
                    <a:pt x="96" y="91"/>
                    <a:pt x="115" y="58"/>
                  </a:cubicBezTo>
                  <a:cubicBezTo>
                    <a:pt x="120" y="49"/>
                    <a:pt x="128" y="34"/>
                    <a:pt x="132" y="25"/>
                  </a:cubicBezTo>
                  <a:cubicBezTo>
                    <a:pt x="132" y="25"/>
                    <a:pt x="134" y="22"/>
                    <a:pt x="131" y="17"/>
                  </a:cubicBezTo>
                  <a:cubicBezTo>
                    <a:pt x="130" y="12"/>
                    <a:pt x="119" y="2"/>
                    <a:pt x="118" y="0"/>
                  </a:cubicBezTo>
                  <a:cubicBezTo>
                    <a:pt x="117" y="0"/>
                    <a:pt x="115" y="0"/>
                    <a:pt x="114" y="1"/>
                  </a:cubicBezTo>
                  <a:cubicBezTo>
                    <a:pt x="110" y="6"/>
                    <a:pt x="102" y="15"/>
                    <a:pt x="101" y="18"/>
                  </a:cubicBezTo>
                  <a:cubicBezTo>
                    <a:pt x="97" y="22"/>
                    <a:pt x="59" y="78"/>
                    <a:pt x="50" y="92"/>
                  </a:cubicBezTo>
                  <a:cubicBezTo>
                    <a:pt x="47" y="98"/>
                    <a:pt x="32" y="121"/>
                    <a:pt x="29" y="128"/>
                  </a:cubicBezTo>
                  <a:cubicBezTo>
                    <a:pt x="19" y="146"/>
                    <a:pt x="12" y="159"/>
                    <a:pt x="6" y="172"/>
                  </a:cubicBezTo>
                  <a:cubicBezTo>
                    <a:pt x="0" y="192"/>
                    <a:pt x="16" y="203"/>
                    <a:pt x="23" y="208"/>
                  </a:cubicBezTo>
                  <a:cubicBezTo>
                    <a:pt x="23" y="208"/>
                    <a:pt x="28" y="212"/>
                    <a:pt x="31" y="212"/>
                  </a:cubicBezTo>
                  <a:cubicBezTo>
                    <a:pt x="45" y="212"/>
                    <a:pt x="106" y="198"/>
                    <a:pt x="136" y="198"/>
                  </a:cubicBezTo>
                  <a:cubicBezTo>
                    <a:pt x="139" y="197"/>
                    <a:pt x="130" y="191"/>
                    <a:pt x="122" y="18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0" name="Freeform 21"/>
            <p:cNvSpPr>
              <a:spLocks noEditPoints="1"/>
            </p:cNvSpPr>
            <p:nvPr/>
          </p:nvSpPr>
          <p:spPr bwMode="auto">
            <a:xfrm>
              <a:off x="5222875" y="3449638"/>
              <a:ext cx="917575" cy="752475"/>
            </a:xfrm>
            <a:custGeom>
              <a:avLst/>
              <a:gdLst>
                <a:gd name="T0" fmla="*/ 242 w 245"/>
                <a:gd name="T1" fmla="*/ 68 h 201"/>
                <a:gd name="T2" fmla="*/ 243 w 245"/>
                <a:gd name="T3" fmla="*/ 64 h 201"/>
                <a:gd name="T4" fmla="*/ 209 w 245"/>
                <a:gd name="T5" fmla="*/ 58 h 201"/>
                <a:gd name="T6" fmla="*/ 223 w 245"/>
                <a:gd name="T7" fmla="*/ 35 h 201"/>
                <a:gd name="T8" fmla="*/ 224 w 245"/>
                <a:gd name="T9" fmla="*/ 21 h 201"/>
                <a:gd name="T10" fmla="*/ 207 w 245"/>
                <a:gd name="T11" fmla="*/ 1 h 201"/>
                <a:gd name="T12" fmla="*/ 203 w 245"/>
                <a:gd name="T13" fmla="*/ 2 h 201"/>
                <a:gd name="T14" fmla="*/ 202 w 245"/>
                <a:gd name="T15" fmla="*/ 8 h 201"/>
                <a:gd name="T16" fmla="*/ 172 w 245"/>
                <a:gd name="T17" fmla="*/ 58 h 201"/>
                <a:gd name="T18" fmla="*/ 142 w 245"/>
                <a:gd name="T19" fmla="*/ 58 h 201"/>
                <a:gd name="T20" fmla="*/ 139 w 245"/>
                <a:gd name="T21" fmla="*/ 61 h 201"/>
                <a:gd name="T22" fmla="*/ 145 w 245"/>
                <a:gd name="T23" fmla="*/ 68 h 201"/>
                <a:gd name="T24" fmla="*/ 166 w 245"/>
                <a:gd name="T25" fmla="*/ 68 h 201"/>
                <a:gd name="T26" fmla="*/ 134 w 245"/>
                <a:gd name="T27" fmla="*/ 124 h 201"/>
                <a:gd name="T28" fmla="*/ 126 w 245"/>
                <a:gd name="T29" fmla="*/ 137 h 201"/>
                <a:gd name="T30" fmla="*/ 52 w 245"/>
                <a:gd name="T31" fmla="*/ 166 h 201"/>
                <a:gd name="T32" fmla="*/ 48 w 245"/>
                <a:gd name="T33" fmla="*/ 134 h 201"/>
                <a:gd name="T34" fmla="*/ 91 w 245"/>
                <a:gd name="T35" fmla="*/ 132 h 201"/>
                <a:gd name="T36" fmla="*/ 116 w 245"/>
                <a:gd name="T37" fmla="*/ 65 h 201"/>
                <a:gd name="T38" fmla="*/ 40 w 245"/>
                <a:gd name="T39" fmla="*/ 89 h 201"/>
                <a:gd name="T40" fmla="*/ 28 w 245"/>
                <a:gd name="T41" fmla="*/ 187 h 201"/>
                <a:gd name="T42" fmla="*/ 122 w 245"/>
                <a:gd name="T43" fmla="*/ 154 h 201"/>
                <a:gd name="T44" fmla="*/ 121 w 245"/>
                <a:gd name="T45" fmla="*/ 161 h 201"/>
                <a:gd name="T46" fmla="*/ 129 w 245"/>
                <a:gd name="T47" fmla="*/ 183 h 201"/>
                <a:gd name="T48" fmla="*/ 198 w 245"/>
                <a:gd name="T49" fmla="*/ 150 h 201"/>
                <a:gd name="T50" fmla="*/ 189 w 245"/>
                <a:gd name="T51" fmla="*/ 150 h 201"/>
                <a:gd name="T52" fmla="*/ 158 w 245"/>
                <a:gd name="T53" fmla="*/ 168 h 201"/>
                <a:gd name="T54" fmla="*/ 202 w 245"/>
                <a:gd name="T55" fmla="*/ 68 h 201"/>
                <a:gd name="T56" fmla="*/ 242 w 245"/>
                <a:gd name="T57" fmla="*/ 68 h 201"/>
                <a:gd name="T58" fmla="*/ 106 w 245"/>
                <a:gd name="T59" fmla="*/ 72 h 201"/>
                <a:gd name="T60" fmla="*/ 89 w 245"/>
                <a:gd name="T61" fmla="*/ 111 h 201"/>
                <a:gd name="T62" fmla="*/ 50 w 245"/>
                <a:gd name="T63" fmla="*/ 125 h 201"/>
                <a:gd name="T64" fmla="*/ 106 w 245"/>
                <a:gd name="T65" fmla="*/ 72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5" h="201">
                  <a:moveTo>
                    <a:pt x="242" y="68"/>
                  </a:moveTo>
                  <a:cubicBezTo>
                    <a:pt x="243" y="68"/>
                    <a:pt x="245" y="66"/>
                    <a:pt x="243" y="64"/>
                  </a:cubicBezTo>
                  <a:cubicBezTo>
                    <a:pt x="239" y="59"/>
                    <a:pt x="225" y="58"/>
                    <a:pt x="209" y="58"/>
                  </a:cubicBezTo>
                  <a:cubicBezTo>
                    <a:pt x="212" y="52"/>
                    <a:pt x="221" y="39"/>
                    <a:pt x="223" y="35"/>
                  </a:cubicBezTo>
                  <a:cubicBezTo>
                    <a:pt x="226" y="28"/>
                    <a:pt x="226" y="24"/>
                    <a:pt x="224" y="21"/>
                  </a:cubicBezTo>
                  <a:cubicBezTo>
                    <a:pt x="220" y="16"/>
                    <a:pt x="208" y="3"/>
                    <a:pt x="207" y="1"/>
                  </a:cubicBezTo>
                  <a:cubicBezTo>
                    <a:pt x="205" y="0"/>
                    <a:pt x="203" y="0"/>
                    <a:pt x="203" y="2"/>
                  </a:cubicBezTo>
                  <a:cubicBezTo>
                    <a:pt x="203" y="5"/>
                    <a:pt x="203" y="6"/>
                    <a:pt x="202" y="8"/>
                  </a:cubicBezTo>
                  <a:cubicBezTo>
                    <a:pt x="200" y="13"/>
                    <a:pt x="172" y="58"/>
                    <a:pt x="172" y="58"/>
                  </a:cubicBezTo>
                  <a:cubicBezTo>
                    <a:pt x="142" y="58"/>
                    <a:pt x="142" y="58"/>
                    <a:pt x="142" y="58"/>
                  </a:cubicBezTo>
                  <a:cubicBezTo>
                    <a:pt x="142" y="58"/>
                    <a:pt x="138" y="58"/>
                    <a:pt x="139" y="61"/>
                  </a:cubicBezTo>
                  <a:cubicBezTo>
                    <a:pt x="140" y="64"/>
                    <a:pt x="145" y="68"/>
                    <a:pt x="145" y="68"/>
                  </a:cubicBezTo>
                  <a:cubicBezTo>
                    <a:pt x="154" y="68"/>
                    <a:pt x="166" y="68"/>
                    <a:pt x="166" y="68"/>
                  </a:cubicBezTo>
                  <a:cubicBezTo>
                    <a:pt x="166" y="68"/>
                    <a:pt x="145" y="106"/>
                    <a:pt x="134" y="124"/>
                  </a:cubicBezTo>
                  <a:cubicBezTo>
                    <a:pt x="132" y="128"/>
                    <a:pt x="130" y="133"/>
                    <a:pt x="126" y="137"/>
                  </a:cubicBezTo>
                  <a:cubicBezTo>
                    <a:pt x="117" y="147"/>
                    <a:pt x="82" y="182"/>
                    <a:pt x="52" y="166"/>
                  </a:cubicBezTo>
                  <a:cubicBezTo>
                    <a:pt x="43" y="161"/>
                    <a:pt x="44" y="145"/>
                    <a:pt x="48" y="134"/>
                  </a:cubicBezTo>
                  <a:cubicBezTo>
                    <a:pt x="48" y="134"/>
                    <a:pt x="68" y="145"/>
                    <a:pt x="91" y="132"/>
                  </a:cubicBezTo>
                  <a:cubicBezTo>
                    <a:pt x="124" y="113"/>
                    <a:pt x="142" y="78"/>
                    <a:pt x="116" y="65"/>
                  </a:cubicBezTo>
                  <a:cubicBezTo>
                    <a:pt x="91" y="53"/>
                    <a:pt x="64" y="65"/>
                    <a:pt x="40" y="89"/>
                  </a:cubicBezTo>
                  <a:cubicBezTo>
                    <a:pt x="5" y="126"/>
                    <a:pt x="0" y="175"/>
                    <a:pt x="28" y="187"/>
                  </a:cubicBezTo>
                  <a:cubicBezTo>
                    <a:pt x="59" y="201"/>
                    <a:pt x="99" y="179"/>
                    <a:pt x="122" y="154"/>
                  </a:cubicBezTo>
                  <a:cubicBezTo>
                    <a:pt x="121" y="156"/>
                    <a:pt x="121" y="159"/>
                    <a:pt x="121" y="161"/>
                  </a:cubicBezTo>
                  <a:cubicBezTo>
                    <a:pt x="121" y="168"/>
                    <a:pt x="122" y="179"/>
                    <a:pt x="129" y="183"/>
                  </a:cubicBezTo>
                  <a:cubicBezTo>
                    <a:pt x="152" y="199"/>
                    <a:pt x="185" y="168"/>
                    <a:pt x="198" y="150"/>
                  </a:cubicBezTo>
                  <a:cubicBezTo>
                    <a:pt x="200" y="148"/>
                    <a:pt x="191" y="148"/>
                    <a:pt x="189" y="150"/>
                  </a:cubicBezTo>
                  <a:cubicBezTo>
                    <a:pt x="180" y="156"/>
                    <a:pt x="164" y="173"/>
                    <a:pt x="158" y="168"/>
                  </a:cubicBezTo>
                  <a:cubicBezTo>
                    <a:pt x="151" y="161"/>
                    <a:pt x="181" y="102"/>
                    <a:pt x="202" y="68"/>
                  </a:cubicBezTo>
                  <a:cubicBezTo>
                    <a:pt x="216" y="67"/>
                    <a:pt x="233" y="68"/>
                    <a:pt x="242" y="68"/>
                  </a:cubicBezTo>
                  <a:moveTo>
                    <a:pt x="106" y="72"/>
                  </a:moveTo>
                  <a:cubicBezTo>
                    <a:pt x="113" y="74"/>
                    <a:pt x="98" y="102"/>
                    <a:pt x="89" y="111"/>
                  </a:cubicBezTo>
                  <a:cubicBezTo>
                    <a:pt x="71" y="129"/>
                    <a:pt x="50" y="125"/>
                    <a:pt x="50" y="125"/>
                  </a:cubicBezTo>
                  <a:cubicBezTo>
                    <a:pt x="58" y="99"/>
                    <a:pt x="96" y="70"/>
                    <a:pt x="106" y="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1" name="Freeform 22"/>
            <p:cNvSpPr>
              <a:spLocks noEditPoints="1"/>
            </p:cNvSpPr>
            <p:nvPr/>
          </p:nvSpPr>
          <p:spPr bwMode="auto">
            <a:xfrm>
              <a:off x="6613525" y="3644900"/>
              <a:ext cx="636587" cy="688975"/>
            </a:xfrm>
            <a:custGeom>
              <a:avLst/>
              <a:gdLst>
                <a:gd name="T0" fmla="*/ 142 w 170"/>
                <a:gd name="T1" fmla="*/ 22 h 184"/>
                <a:gd name="T2" fmla="*/ 130 w 170"/>
                <a:gd name="T3" fmla="*/ 4 h 184"/>
                <a:gd name="T4" fmla="*/ 44 w 170"/>
                <a:gd name="T5" fmla="*/ 42 h 184"/>
                <a:gd name="T6" fmla="*/ 28 w 170"/>
                <a:gd name="T7" fmla="*/ 120 h 184"/>
                <a:gd name="T8" fmla="*/ 100 w 170"/>
                <a:gd name="T9" fmla="*/ 88 h 184"/>
                <a:gd name="T10" fmla="*/ 78 w 170"/>
                <a:gd name="T11" fmla="*/ 133 h 184"/>
                <a:gd name="T12" fmla="*/ 40 w 170"/>
                <a:gd name="T13" fmla="*/ 166 h 184"/>
                <a:gd name="T14" fmla="*/ 12 w 170"/>
                <a:gd name="T15" fmla="*/ 142 h 184"/>
                <a:gd name="T16" fmla="*/ 0 w 170"/>
                <a:gd name="T17" fmla="*/ 153 h 184"/>
                <a:gd name="T18" fmla="*/ 45 w 170"/>
                <a:gd name="T19" fmla="*/ 180 h 184"/>
                <a:gd name="T20" fmla="*/ 134 w 170"/>
                <a:gd name="T21" fmla="*/ 84 h 184"/>
                <a:gd name="T22" fmla="*/ 167 w 170"/>
                <a:gd name="T23" fmla="*/ 23 h 184"/>
                <a:gd name="T24" fmla="*/ 144 w 170"/>
                <a:gd name="T25" fmla="*/ 19 h 184"/>
                <a:gd name="T26" fmla="*/ 142 w 170"/>
                <a:gd name="T27" fmla="*/ 22 h 184"/>
                <a:gd name="T28" fmla="*/ 123 w 170"/>
                <a:gd name="T29" fmla="*/ 40 h 184"/>
                <a:gd name="T30" fmla="*/ 58 w 170"/>
                <a:gd name="T31" fmla="*/ 92 h 184"/>
                <a:gd name="T32" fmla="*/ 78 w 170"/>
                <a:gd name="T33" fmla="*/ 40 h 184"/>
                <a:gd name="T34" fmla="*/ 123 w 170"/>
                <a:gd name="T35" fmla="*/ 4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84">
                  <a:moveTo>
                    <a:pt x="142" y="22"/>
                  </a:moveTo>
                  <a:cubicBezTo>
                    <a:pt x="142" y="22"/>
                    <a:pt x="141" y="9"/>
                    <a:pt x="130" y="4"/>
                  </a:cubicBezTo>
                  <a:cubicBezTo>
                    <a:pt x="119" y="0"/>
                    <a:pt x="76" y="3"/>
                    <a:pt x="44" y="42"/>
                  </a:cubicBezTo>
                  <a:cubicBezTo>
                    <a:pt x="18" y="75"/>
                    <a:pt x="13" y="104"/>
                    <a:pt x="28" y="120"/>
                  </a:cubicBezTo>
                  <a:cubicBezTo>
                    <a:pt x="39" y="131"/>
                    <a:pt x="69" y="128"/>
                    <a:pt x="100" y="88"/>
                  </a:cubicBezTo>
                  <a:cubicBezTo>
                    <a:pt x="99" y="90"/>
                    <a:pt x="81" y="127"/>
                    <a:pt x="78" y="133"/>
                  </a:cubicBezTo>
                  <a:cubicBezTo>
                    <a:pt x="67" y="152"/>
                    <a:pt x="49" y="165"/>
                    <a:pt x="40" y="166"/>
                  </a:cubicBezTo>
                  <a:cubicBezTo>
                    <a:pt x="17" y="170"/>
                    <a:pt x="13" y="151"/>
                    <a:pt x="12" y="142"/>
                  </a:cubicBezTo>
                  <a:cubicBezTo>
                    <a:pt x="12" y="141"/>
                    <a:pt x="0" y="142"/>
                    <a:pt x="0" y="153"/>
                  </a:cubicBezTo>
                  <a:cubicBezTo>
                    <a:pt x="0" y="168"/>
                    <a:pt x="17" y="184"/>
                    <a:pt x="45" y="180"/>
                  </a:cubicBezTo>
                  <a:cubicBezTo>
                    <a:pt x="94" y="173"/>
                    <a:pt x="112" y="134"/>
                    <a:pt x="134" y="84"/>
                  </a:cubicBezTo>
                  <a:cubicBezTo>
                    <a:pt x="137" y="77"/>
                    <a:pt x="153" y="42"/>
                    <a:pt x="167" y="23"/>
                  </a:cubicBezTo>
                  <a:cubicBezTo>
                    <a:pt x="170" y="20"/>
                    <a:pt x="148" y="15"/>
                    <a:pt x="144" y="19"/>
                  </a:cubicBezTo>
                  <a:lnTo>
                    <a:pt x="142" y="22"/>
                  </a:lnTo>
                  <a:close/>
                  <a:moveTo>
                    <a:pt x="123" y="40"/>
                  </a:moveTo>
                  <a:cubicBezTo>
                    <a:pt x="102" y="72"/>
                    <a:pt x="69" y="109"/>
                    <a:pt x="58" y="92"/>
                  </a:cubicBezTo>
                  <a:cubicBezTo>
                    <a:pt x="54" y="86"/>
                    <a:pt x="56" y="68"/>
                    <a:pt x="78" y="40"/>
                  </a:cubicBezTo>
                  <a:cubicBezTo>
                    <a:pt x="106" y="5"/>
                    <a:pt x="141" y="13"/>
                    <a:pt x="123" y="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2" name="Freeform 23"/>
            <p:cNvSpPr>
              <a:spLocks/>
            </p:cNvSpPr>
            <p:nvPr/>
          </p:nvSpPr>
          <p:spPr bwMode="auto">
            <a:xfrm>
              <a:off x="7723188" y="3400425"/>
              <a:ext cx="303212" cy="584200"/>
            </a:xfrm>
            <a:custGeom>
              <a:avLst/>
              <a:gdLst>
                <a:gd name="T0" fmla="*/ 79 w 81"/>
                <a:gd name="T1" fmla="*/ 18 h 156"/>
                <a:gd name="T2" fmla="*/ 51 w 81"/>
                <a:gd name="T3" fmla="*/ 0 h 156"/>
                <a:gd name="T4" fmla="*/ 6 w 81"/>
                <a:gd name="T5" fmla="*/ 116 h 156"/>
                <a:gd name="T6" fmla="*/ 9 w 81"/>
                <a:gd name="T7" fmla="*/ 152 h 156"/>
                <a:gd name="T8" fmla="*/ 18 w 81"/>
                <a:gd name="T9" fmla="*/ 145 h 156"/>
                <a:gd name="T10" fmla="*/ 75 w 81"/>
                <a:gd name="T11" fmla="*/ 39 h 156"/>
                <a:gd name="T12" fmla="*/ 79 w 81"/>
                <a:gd name="T13" fmla="*/ 1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56">
                  <a:moveTo>
                    <a:pt x="79" y="18"/>
                  </a:moveTo>
                  <a:cubicBezTo>
                    <a:pt x="74" y="11"/>
                    <a:pt x="57" y="2"/>
                    <a:pt x="51" y="0"/>
                  </a:cubicBezTo>
                  <a:cubicBezTo>
                    <a:pt x="39" y="31"/>
                    <a:pt x="20" y="71"/>
                    <a:pt x="6" y="116"/>
                  </a:cubicBezTo>
                  <a:cubicBezTo>
                    <a:pt x="3" y="129"/>
                    <a:pt x="0" y="145"/>
                    <a:pt x="9" y="152"/>
                  </a:cubicBezTo>
                  <a:cubicBezTo>
                    <a:pt x="14" y="156"/>
                    <a:pt x="16" y="150"/>
                    <a:pt x="18" y="145"/>
                  </a:cubicBezTo>
                  <a:cubicBezTo>
                    <a:pt x="37" y="104"/>
                    <a:pt x="73" y="43"/>
                    <a:pt x="75" y="39"/>
                  </a:cubicBezTo>
                  <a:cubicBezTo>
                    <a:pt x="81" y="29"/>
                    <a:pt x="81" y="21"/>
                    <a:pt x="79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3" name="Oval 24"/>
            <p:cNvSpPr>
              <a:spLocks noChangeArrowheads="1"/>
            </p:cNvSpPr>
            <p:nvPr/>
          </p:nvSpPr>
          <p:spPr bwMode="auto">
            <a:xfrm>
              <a:off x="7640638" y="4014788"/>
              <a:ext cx="134937" cy="1317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4" name="Freeform 25"/>
            <p:cNvSpPr>
              <a:spLocks/>
            </p:cNvSpPr>
            <p:nvPr/>
          </p:nvSpPr>
          <p:spPr bwMode="auto">
            <a:xfrm>
              <a:off x="6122988" y="3414713"/>
              <a:ext cx="160337" cy="188913"/>
            </a:xfrm>
            <a:custGeom>
              <a:avLst/>
              <a:gdLst>
                <a:gd name="T0" fmla="*/ 8 w 43"/>
                <a:gd name="T1" fmla="*/ 50 h 50"/>
                <a:gd name="T2" fmla="*/ 43 w 43"/>
                <a:gd name="T3" fmla="*/ 20 h 50"/>
                <a:gd name="T4" fmla="*/ 31 w 43"/>
                <a:gd name="T5" fmla="*/ 4 h 50"/>
                <a:gd name="T6" fmla="*/ 20 w 43"/>
                <a:gd name="T7" fmla="*/ 35 h 50"/>
                <a:gd name="T8" fmla="*/ 3 w 43"/>
                <a:gd name="T9" fmla="*/ 46 h 50"/>
                <a:gd name="T10" fmla="*/ 8 w 43"/>
                <a:gd name="T1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50">
                  <a:moveTo>
                    <a:pt x="8" y="50"/>
                  </a:moveTo>
                  <a:cubicBezTo>
                    <a:pt x="25" y="50"/>
                    <a:pt x="40" y="41"/>
                    <a:pt x="43" y="20"/>
                  </a:cubicBezTo>
                  <a:cubicBezTo>
                    <a:pt x="43" y="18"/>
                    <a:pt x="43" y="6"/>
                    <a:pt x="31" y="4"/>
                  </a:cubicBezTo>
                  <a:cubicBezTo>
                    <a:pt x="7" y="0"/>
                    <a:pt x="2" y="30"/>
                    <a:pt x="20" y="35"/>
                  </a:cubicBezTo>
                  <a:cubicBezTo>
                    <a:pt x="17" y="42"/>
                    <a:pt x="10" y="44"/>
                    <a:pt x="3" y="46"/>
                  </a:cubicBezTo>
                  <a:cubicBezTo>
                    <a:pt x="0" y="47"/>
                    <a:pt x="5" y="50"/>
                    <a:pt x="8" y="5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5" name="Freeform 26"/>
            <p:cNvSpPr>
              <a:spLocks noEditPoints="1"/>
            </p:cNvSpPr>
            <p:nvPr/>
          </p:nvSpPr>
          <p:spPr bwMode="auto">
            <a:xfrm>
              <a:off x="7018338" y="3562350"/>
              <a:ext cx="787400" cy="647700"/>
            </a:xfrm>
            <a:custGeom>
              <a:avLst/>
              <a:gdLst>
                <a:gd name="T0" fmla="*/ 158 w 210"/>
                <a:gd name="T1" fmla="*/ 37 h 173"/>
                <a:gd name="T2" fmla="*/ 71 w 210"/>
                <a:gd name="T3" fmla="*/ 154 h 173"/>
                <a:gd name="T4" fmla="*/ 158 w 210"/>
                <a:gd name="T5" fmla="*/ 37 h 173"/>
                <a:gd name="T6" fmla="*/ 132 w 210"/>
                <a:gd name="T7" fmla="*/ 102 h 173"/>
                <a:gd name="T8" fmla="*/ 120 w 210"/>
                <a:gd name="T9" fmla="*/ 119 h 173"/>
                <a:gd name="T10" fmla="*/ 106 w 210"/>
                <a:gd name="T11" fmla="*/ 132 h 173"/>
                <a:gd name="T12" fmla="*/ 84 w 210"/>
                <a:gd name="T13" fmla="*/ 141 h 173"/>
                <a:gd name="T14" fmla="*/ 90 w 210"/>
                <a:gd name="T15" fmla="*/ 81 h 173"/>
                <a:gd name="T16" fmla="*/ 143 w 210"/>
                <a:gd name="T17" fmla="*/ 41 h 173"/>
                <a:gd name="T18" fmla="*/ 132 w 210"/>
                <a:gd name="T19" fmla="*/ 10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0" h="173">
                  <a:moveTo>
                    <a:pt x="158" y="37"/>
                  </a:moveTo>
                  <a:cubicBezTo>
                    <a:pt x="74" y="0"/>
                    <a:pt x="0" y="135"/>
                    <a:pt x="71" y="154"/>
                  </a:cubicBezTo>
                  <a:cubicBezTo>
                    <a:pt x="138" y="173"/>
                    <a:pt x="210" y="60"/>
                    <a:pt x="158" y="37"/>
                  </a:cubicBezTo>
                  <a:moveTo>
                    <a:pt x="132" y="102"/>
                  </a:moveTo>
                  <a:cubicBezTo>
                    <a:pt x="129" y="107"/>
                    <a:pt x="125" y="113"/>
                    <a:pt x="120" y="119"/>
                  </a:cubicBezTo>
                  <a:cubicBezTo>
                    <a:pt x="114" y="124"/>
                    <a:pt x="110" y="129"/>
                    <a:pt x="106" y="132"/>
                  </a:cubicBezTo>
                  <a:cubicBezTo>
                    <a:pt x="98" y="137"/>
                    <a:pt x="91" y="141"/>
                    <a:pt x="84" y="141"/>
                  </a:cubicBezTo>
                  <a:cubicBezTo>
                    <a:pt x="67" y="140"/>
                    <a:pt x="70" y="108"/>
                    <a:pt x="90" y="81"/>
                  </a:cubicBezTo>
                  <a:cubicBezTo>
                    <a:pt x="105" y="59"/>
                    <a:pt x="127" y="34"/>
                    <a:pt x="143" y="41"/>
                  </a:cubicBezTo>
                  <a:cubicBezTo>
                    <a:pt x="155" y="47"/>
                    <a:pt x="148" y="74"/>
                    <a:pt x="132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702157" y="1181100"/>
            <a:ext cx="727473" cy="996950"/>
            <a:chOff x="4936" y="176"/>
            <a:chExt cx="423" cy="628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dirty="0">
                <a:solidFill>
                  <a:srgbClr val="6C6F7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dirty="0">
                <a:solidFill>
                  <a:srgbClr val="6C6F7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dirty="0">
                <a:solidFill>
                  <a:srgbClr val="6C6F7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dirty="0">
                <a:solidFill>
                  <a:srgbClr val="6C6F70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368513" y="1181100"/>
            <a:ext cx="1061114" cy="730250"/>
            <a:chOff x="4750" y="176"/>
            <a:chExt cx="617" cy="46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Calibri" pitchFamily="34" charset="0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Calibri" pitchFamily="34" charset="0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Calibri" pitchFamily="34" charset="0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</p:grpSp>
      <p:grpSp>
        <p:nvGrpSpPr>
          <p:cNvPr id="42" name="McKSticker" hidden="1"/>
          <p:cNvGrpSpPr>
            <a:grpSpLocks/>
          </p:cNvGrpSpPr>
          <p:nvPr/>
        </p:nvGrpSpPr>
        <p:grpSpPr bwMode="auto">
          <a:xfrm>
            <a:off x="8577109" y="1181100"/>
            <a:ext cx="886909" cy="212366"/>
            <a:chOff x="7921298" y="285750"/>
            <a:chExt cx="819477" cy="213241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921298" y="285750"/>
              <a:ext cx="819477" cy="21324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r"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808080"/>
                  </a:solidFill>
                  <a:latin typeface="Calibri" pitchFamily="34" charset="0"/>
                  <a:cs typeface="Calibri" pitchFamily="34" charset="0"/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</p:cNvCxnSpPr>
            <p:nvPr/>
          </p:nvCxnSpPr>
          <p:spPr bwMode="auto">
            <a:xfrm>
              <a:off x="792416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</p:cNvCxnSpPr>
            <p:nvPr/>
          </p:nvCxnSpPr>
          <p:spPr bwMode="auto">
            <a:xfrm>
              <a:off x="7924161" y="498116"/>
              <a:ext cx="81661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>
            <a:grpSpLocks/>
          </p:cNvGrpSpPr>
          <p:nvPr/>
        </p:nvGrpSpPr>
        <p:grpSpPr bwMode="auto">
          <a:xfrm>
            <a:off x="8631640" y="1181103"/>
            <a:ext cx="799370" cy="1306513"/>
            <a:chOff x="6655594" y="273840"/>
            <a:chExt cx="737587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6976142" y="286540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6976142" y="561179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6976142" y="835816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6976142" y="1107280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6976142" y="1383506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</p:grpSp>
      <p:sp>
        <p:nvSpPr>
          <p:cNvPr id="67" name="Slide Number"/>
          <p:cNvSpPr txBox="1">
            <a:spLocks/>
          </p:cNvSpPr>
          <p:nvPr userDrawn="1"/>
        </p:nvSpPr>
        <p:spPr bwMode="auto">
          <a:xfrm>
            <a:off x="9614775" y="6581825"/>
            <a:ext cx="15078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36D73DEF-98F3-4FEB-8D24-91922AB4450F}" type="slidenum">
              <a:rPr lang="en-US" smtClean="0">
                <a:solidFill>
                  <a:srgbClr val="6C6F70"/>
                </a:solidFill>
                <a:cs typeface="+mn-cs"/>
              </a:rPr>
              <a:pPr algn="ctr">
                <a:defRPr/>
              </a:pPr>
              <a:t>‹#›</a:t>
            </a:fld>
            <a:endParaRPr lang="en-US" dirty="0">
              <a:solidFill>
                <a:srgbClr val="6C6F70"/>
              </a:solidFill>
              <a:cs typeface="+mn-cs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350750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3"/>
          <a:ext cx="175419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17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292"/>
                      <p:cNvPicPr>
                        <a:picLocks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3"/>
                        <a:ext cx="175419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/>
          <p:cNvSpPr>
            <a:spLocks noChangeArrowheads="1"/>
          </p:cNvSpPr>
          <p:nvPr/>
        </p:nvSpPr>
        <p:spPr bwMode="auto">
          <a:xfrm>
            <a:off x="8739981" y="36513"/>
            <a:ext cx="724033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912813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912813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912813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912813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9001462" y="2562892"/>
            <a:ext cx="165429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dirty="0" smtClean="0">
                <a:solidFill>
                  <a:srgbClr val="6C6F70"/>
                </a:solidFill>
                <a:latin typeface="Calibri"/>
                <a:cs typeface="+mn-cs"/>
              </a:rPr>
              <a:t>Last Modified 05/12/2013 06:36 GMT Standard Time</a:t>
            </a:r>
            <a:endParaRPr lang="en-US" dirty="0" smtClean="0">
              <a:solidFill>
                <a:srgbClr val="6C6F70"/>
              </a:solidFill>
              <a:latin typeface="Calibri"/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9037866" y="4780629"/>
            <a:ext cx="15814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6C6F70"/>
                </a:solidFill>
                <a:latin typeface="Calibri"/>
                <a:cs typeface="+mn-cs"/>
              </a:rPr>
              <a:t>Printed 10/28/2013 11:12 AM GMT Standard Time</a:t>
            </a:r>
            <a:endParaRPr lang="en-US" dirty="0" smtClean="0">
              <a:solidFill>
                <a:srgbClr val="6C6F70"/>
              </a:solidFill>
              <a:latin typeface="Calibri"/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441989" y="26988"/>
            <a:ext cx="66300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808080"/>
                </a:solidFill>
                <a:latin typeface="Calibri" pitchFamily="34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441989" y="1117603"/>
            <a:ext cx="9022027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Calibri"/>
                <a:cs typeface="+mn-cs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441989" y="6026150"/>
            <a:ext cx="9022027" cy="381000"/>
            <a:chOff x="75" y="3915"/>
            <a:chExt cx="5385" cy="23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15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5250" indent="-95250">
                <a:defRPr/>
              </a:pPr>
              <a:r>
                <a:rPr lang="en-US" sz="1000" dirty="0" smtClean="0">
                  <a:solidFill>
                    <a:srgbClr val="6C6F70"/>
                  </a:solidFill>
                  <a:latin typeface="Calibri"/>
                  <a:cs typeface="+mn-cs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379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485775" indent="-485775" defTabSz="91281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91281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91281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91281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91281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sz="1000" dirty="0">
                  <a:solidFill>
                    <a:srgbClr val="6C6F70"/>
                  </a:solidFill>
                  <a:latin typeface="Calibri" pitchFamily="34" charset="0"/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25158" y="2032003"/>
            <a:ext cx="4713950" cy="519113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b="1" dirty="0">
                  <a:solidFill>
                    <a:srgbClr val="6C6F70"/>
                  </a:solidFill>
                  <a:latin typeface="Calibri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US" dirty="0">
                  <a:solidFill>
                    <a:srgbClr val="808080"/>
                  </a:solidFill>
                  <a:latin typeface="Calibri" pitchFamily="34" charset="0"/>
                </a:rPr>
                <a:t>Unit of measure</a:t>
              </a:r>
            </a:p>
          </p:txBody>
        </p:sp>
      </p:grpSp>
      <p:sp>
        <p:nvSpPr>
          <p:cNvPr id="15" name="Line 8"/>
          <p:cNvSpPr>
            <a:spLocks noChangeShapeType="1"/>
          </p:cNvSpPr>
          <p:nvPr/>
        </p:nvSpPr>
        <p:spPr bwMode="auto">
          <a:xfrm>
            <a:off x="441989" y="1109663"/>
            <a:ext cx="9022027" cy="0"/>
          </a:xfrm>
          <a:prstGeom prst="line">
            <a:avLst/>
          </a:prstGeom>
          <a:noFill/>
          <a:ln w="19050">
            <a:solidFill>
              <a:srgbClr val="F8AC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dirty="0"/>
          </a:p>
        </p:txBody>
      </p:sp>
      <p:pic>
        <p:nvPicPr>
          <p:cNvPr id="16" name="Picture 3" descr="F:\00_eldorado\Thomas Cook\07 TCLC 09.2013\00 brand design\logos\00 Group\ThomasCook_hori_office.png"/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99509" y="6494466"/>
            <a:ext cx="1755907" cy="22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7" name="Gruppieren 10"/>
          <p:cNvGrpSpPr>
            <a:grpSpLocks noChangeAspect="1"/>
          </p:cNvGrpSpPr>
          <p:nvPr/>
        </p:nvGrpSpPr>
        <p:grpSpPr bwMode="auto">
          <a:xfrm>
            <a:off x="440944" y="6505360"/>
            <a:ext cx="975000" cy="256646"/>
            <a:chOff x="4741863" y="3397250"/>
            <a:chExt cx="3284537" cy="936625"/>
          </a:xfrm>
          <a:solidFill>
            <a:srgbClr val="6C6F70"/>
          </a:solidFill>
        </p:grpSpPr>
        <p:sp>
          <p:nvSpPr>
            <p:cNvPr id="18" name="Freeform 19"/>
            <p:cNvSpPr>
              <a:spLocks/>
            </p:cNvSpPr>
            <p:nvPr/>
          </p:nvSpPr>
          <p:spPr bwMode="auto">
            <a:xfrm>
              <a:off x="6073775" y="3670300"/>
              <a:ext cx="457200" cy="490538"/>
            </a:xfrm>
            <a:custGeom>
              <a:avLst/>
              <a:gdLst>
                <a:gd name="T0" fmla="*/ 92 w 122"/>
                <a:gd name="T1" fmla="*/ 0 h 131"/>
                <a:gd name="T2" fmla="*/ 35 w 122"/>
                <a:gd name="T3" fmla="*/ 28 h 131"/>
                <a:gd name="T4" fmla="*/ 25 w 122"/>
                <a:gd name="T5" fmla="*/ 43 h 131"/>
                <a:gd name="T6" fmla="*/ 45 w 122"/>
                <a:gd name="T7" fmla="*/ 86 h 131"/>
                <a:gd name="T8" fmla="*/ 60 w 122"/>
                <a:gd name="T9" fmla="*/ 99 h 131"/>
                <a:gd name="T10" fmla="*/ 60 w 122"/>
                <a:gd name="T11" fmla="*/ 109 h 131"/>
                <a:gd name="T12" fmla="*/ 17 w 122"/>
                <a:gd name="T13" fmla="*/ 111 h 131"/>
                <a:gd name="T14" fmla="*/ 2 w 122"/>
                <a:gd name="T15" fmla="*/ 101 h 131"/>
                <a:gd name="T16" fmla="*/ 1 w 122"/>
                <a:gd name="T17" fmla="*/ 103 h 131"/>
                <a:gd name="T18" fmla="*/ 2 w 122"/>
                <a:gd name="T19" fmla="*/ 109 h 131"/>
                <a:gd name="T20" fmla="*/ 12 w 122"/>
                <a:gd name="T21" fmla="*/ 119 h 131"/>
                <a:gd name="T22" fmla="*/ 64 w 122"/>
                <a:gd name="T23" fmla="*/ 129 h 131"/>
                <a:gd name="T24" fmla="*/ 80 w 122"/>
                <a:gd name="T25" fmla="*/ 84 h 131"/>
                <a:gd name="T26" fmla="*/ 62 w 122"/>
                <a:gd name="T27" fmla="*/ 46 h 131"/>
                <a:gd name="T28" fmla="*/ 72 w 122"/>
                <a:gd name="T29" fmla="*/ 31 h 131"/>
                <a:gd name="T30" fmla="*/ 110 w 122"/>
                <a:gd name="T31" fmla="*/ 26 h 131"/>
                <a:gd name="T32" fmla="*/ 112 w 122"/>
                <a:gd name="T33" fmla="*/ 34 h 131"/>
                <a:gd name="T34" fmla="*/ 121 w 122"/>
                <a:gd name="T35" fmla="*/ 36 h 131"/>
                <a:gd name="T36" fmla="*/ 121 w 122"/>
                <a:gd name="T37" fmla="*/ 21 h 131"/>
                <a:gd name="T38" fmla="*/ 92 w 122"/>
                <a:gd name="T39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2" h="131">
                  <a:moveTo>
                    <a:pt x="92" y="0"/>
                  </a:moveTo>
                  <a:cubicBezTo>
                    <a:pt x="71" y="0"/>
                    <a:pt x="49" y="12"/>
                    <a:pt x="35" y="28"/>
                  </a:cubicBezTo>
                  <a:cubicBezTo>
                    <a:pt x="31" y="32"/>
                    <a:pt x="27" y="38"/>
                    <a:pt x="25" y="43"/>
                  </a:cubicBezTo>
                  <a:cubicBezTo>
                    <a:pt x="17" y="61"/>
                    <a:pt x="31" y="78"/>
                    <a:pt x="45" y="86"/>
                  </a:cubicBezTo>
                  <a:cubicBezTo>
                    <a:pt x="51" y="89"/>
                    <a:pt x="57" y="93"/>
                    <a:pt x="60" y="99"/>
                  </a:cubicBezTo>
                  <a:cubicBezTo>
                    <a:pt x="61" y="102"/>
                    <a:pt x="61" y="106"/>
                    <a:pt x="60" y="109"/>
                  </a:cubicBezTo>
                  <a:cubicBezTo>
                    <a:pt x="52" y="119"/>
                    <a:pt x="24" y="114"/>
                    <a:pt x="17" y="111"/>
                  </a:cubicBezTo>
                  <a:cubicBezTo>
                    <a:pt x="11" y="108"/>
                    <a:pt x="7" y="104"/>
                    <a:pt x="2" y="101"/>
                  </a:cubicBezTo>
                  <a:cubicBezTo>
                    <a:pt x="2" y="101"/>
                    <a:pt x="1" y="101"/>
                    <a:pt x="1" y="103"/>
                  </a:cubicBezTo>
                  <a:cubicBezTo>
                    <a:pt x="0" y="105"/>
                    <a:pt x="0" y="107"/>
                    <a:pt x="2" y="109"/>
                  </a:cubicBezTo>
                  <a:cubicBezTo>
                    <a:pt x="4" y="113"/>
                    <a:pt x="8" y="116"/>
                    <a:pt x="12" y="119"/>
                  </a:cubicBezTo>
                  <a:cubicBezTo>
                    <a:pt x="27" y="128"/>
                    <a:pt x="46" y="131"/>
                    <a:pt x="64" y="129"/>
                  </a:cubicBezTo>
                  <a:cubicBezTo>
                    <a:pt x="93" y="125"/>
                    <a:pt x="97" y="100"/>
                    <a:pt x="80" y="84"/>
                  </a:cubicBezTo>
                  <a:cubicBezTo>
                    <a:pt x="67" y="73"/>
                    <a:pt x="55" y="65"/>
                    <a:pt x="62" y="46"/>
                  </a:cubicBezTo>
                  <a:cubicBezTo>
                    <a:pt x="64" y="40"/>
                    <a:pt x="68" y="35"/>
                    <a:pt x="72" y="31"/>
                  </a:cubicBezTo>
                  <a:cubicBezTo>
                    <a:pt x="80" y="23"/>
                    <a:pt x="107" y="7"/>
                    <a:pt x="110" y="26"/>
                  </a:cubicBezTo>
                  <a:cubicBezTo>
                    <a:pt x="110" y="30"/>
                    <a:pt x="110" y="31"/>
                    <a:pt x="112" y="34"/>
                  </a:cubicBezTo>
                  <a:cubicBezTo>
                    <a:pt x="113" y="36"/>
                    <a:pt x="118" y="39"/>
                    <a:pt x="121" y="36"/>
                  </a:cubicBezTo>
                  <a:cubicBezTo>
                    <a:pt x="121" y="36"/>
                    <a:pt x="122" y="25"/>
                    <a:pt x="121" y="21"/>
                  </a:cubicBezTo>
                  <a:cubicBezTo>
                    <a:pt x="118" y="10"/>
                    <a:pt x="97" y="0"/>
                    <a:pt x="9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9" name="Freeform 20"/>
            <p:cNvSpPr>
              <a:spLocks/>
            </p:cNvSpPr>
            <p:nvPr/>
          </p:nvSpPr>
          <p:spPr bwMode="auto">
            <a:xfrm>
              <a:off x="4741863" y="3397250"/>
              <a:ext cx="522287" cy="793750"/>
            </a:xfrm>
            <a:custGeom>
              <a:avLst/>
              <a:gdLst>
                <a:gd name="T0" fmla="*/ 122 w 139"/>
                <a:gd name="T1" fmla="*/ 186 h 212"/>
                <a:gd name="T2" fmla="*/ 41 w 139"/>
                <a:gd name="T3" fmla="*/ 190 h 212"/>
                <a:gd name="T4" fmla="*/ 115 w 139"/>
                <a:gd name="T5" fmla="*/ 58 h 212"/>
                <a:gd name="T6" fmla="*/ 132 w 139"/>
                <a:gd name="T7" fmla="*/ 25 h 212"/>
                <a:gd name="T8" fmla="*/ 131 w 139"/>
                <a:gd name="T9" fmla="*/ 17 h 212"/>
                <a:gd name="T10" fmla="*/ 118 w 139"/>
                <a:gd name="T11" fmla="*/ 0 h 212"/>
                <a:gd name="T12" fmla="*/ 114 w 139"/>
                <a:gd name="T13" fmla="*/ 1 h 212"/>
                <a:gd name="T14" fmla="*/ 101 w 139"/>
                <a:gd name="T15" fmla="*/ 18 h 212"/>
                <a:gd name="T16" fmla="*/ 50 w 139"/>
                <a:gd name="T17" fmla="*/ 92 h 212"/>
                <a:gd name="T18" fmla="*/ 29 w 139"/>
                <a:gd name="T19" fmla="*/ 128 h 212"/>
                <a:gd name="T20" fmla="*/ 6 w 139"/>
                <a:gd name="T21" fmla="*/ 172 h 212"/>
                <a:gd name="T22" fmla="*/ 23 w 139"/>
                <a:gd name="T23" fmla="*/ 208 h 212"/>
                <a:gd name="T24" fmla="*/ 31 w 139"/>
                <a:gd name="T25" fmla="*/ 212 h 212"/>
                <a:gd name="T26" fmla="*/ 136 w 139"/>
                <a:gd name="T27" fmla="*/ 198 h 212"/>
                <a:gd name="T28" fmla="*/ 122 w 139"/>
                <a:gd name="T29" fmla="*/ 186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9" h="212">
                  <a:moveTo>
                    <a:pt x="122" y="186"/>
                  </a:moveTo>
                  <a:cubicBezTo>
                    <a:pt x="97" y="180"/>
                    <a:pt x="64" y="188"/>
                    <a:pt x="41" y="190"/>
                  </a:cubicBezTo>
                  <a:cubicBezTo>
                    <a:pt x="61" y="154"/>
                    <a:pt x="96" y="91"/>
                    <a:pt x="115" y="58"/>
                  </a:cubicBezTo>
                  <a:cubicBezTo>
                    <a:pt x="120" y="49"/>
                    <a:pt x="128" y="34"/>
                    <a:pt x="132" y="25"/>
                  </a:cubicBezTo>
                  <a:cubicBezTo>
                    <a:pt x="132" y="25"/>
                    <a:pt x="134" y="22"/>
                    <a:pt x="131" y="17"/>
                  </a:cubicBezTo>
                  <a:cubicBezTo>
                    <a:pt x="130" y="12"/>
                    <a:pt x="119" y="2"/>
                    <a:pt x="118" y="0"/>
                  </a:cubicBezTo>
                  <a:cubicBezTo>
                    <a:pt x="117" y="0"/>
                    <a:pt x="115" y="0"/>
                    <a:pt x="114" y="1"/>
                  </a:cubicBezTo>
                  <a:cubicBezTo>
                    <a:pt x="110" y="6"/>
                    <a:pt x="102" y="15"/>
                    <a:pt x="101" y="18"/>
                  </a:cubicBezTo>
                  <a:cubicBezTo>
                    <a:pt x="97" y="22"/>
                    <a:pt x="59" y="78"/>
                    <a:pt x="50" y="92"/>
                  </a:cubicBezTo>
                  <a:cubicBezTo>
                    <a:pt x="47" y="98"/>
                    <a:pt x="32" y="121"/>
                    <a:pt x="29" y="128"/>
                  </a:cubicBezTo>
                  <a:cubicBezTo>
                    <a:pt x="19" y="146"/>
                    <a:pt x="12" y="159"/>
                    <a:pt x="6" y="172"/>
                  </a:cubicBezTo>
                  <a:cubicBezTo>
                    <a:pt x="0" y="192"/>
                    <a:pt x="16" y="203"/>
                    <a:pt x="23" y="208"/>
                  </a:cubicBezTo>
                  <a:cubicBezTo>
                    <a:pt x="23" y="208"/>
                    <a:pt x="28" y="212"/>
                    <a:pt x="31" y="212"/>
                  </a:cubicBezTo>
                  <a:cubicBezTo>
                    <a:pt x="45" y="212"/>
                    <a:pt x="106" y="198"/>
                    <a:pt x="136" y="198"/>
                  </a:cubicBezTo>
                  <a:cubicBezTo>
                    <a:pt x="139" y="197"/>
                    <a:pt x="130" y="191"/>
                    <a:pt x="122" y="18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0" name="Freeform 21"/>
            <p:cNvSpPr>
              <a:spLocks noEditPoints="1"/>
            </p:cNvSpPr>
            <p:nvPr/>
          </p:nvSpPr>
          <p:spPr bwMode="auto">
            <a:xfrm>
              <a:off x="5222875" y="3449638"/>
              <a:ext cx="917575" cy="752475"/>
            </a:xfrm>
            <a:custGeom>
              <a:avLst/>
              <a:gdLst>
                <a:gd name="T0" fmla="*/ 242 w 245"/>
                <a:gd name="T1" fmla="*/ 68 h 201"/>
                <a:gd name="T2" fmla="*/ 243 w 245"/>
                <a:gd name="T3" fmla="*/ 64 h 201"/>
                <a:gd name="T4" fmla="*/ 209 w 245"/>
                <a:gd name="T5" fmla="*/ 58 h 201"/>
                <a:gd name="T6" fmla="*/ 223 w 245"/>
                <a:gd name="T7" fmla="*/ 35 h 201"/>
                <a:gd name="T8" fmla="*/ 224 w 245"/>
                <a:gd name="T9" fmla="*/ 21 h 201"/>
                <a:gd name="T10" fmla="*/ 207 w 245"/>
                <a:gd name="T11" fmla="*/ 1 h 201"/>
                <a:gd name="T12" fmla="*/ 203 w 245"/>
                <a:gd name="T13" fmla="*/ 2 h 201"/>
                <a:gd name="T14" fmla="*/ 202 w 245"/>
                <a:gd name="T15" fmla="*/ 8 h 201"/>
                <a:gd name="T16" fmla="*/ 172 w 245"/>
                <a:gd name="T17" fmla="*/ 58 h 201"/>
                <a:gd name="T18" fmla="*/ 142 w 245"/>
                <a:gd name="T19" fmla="*/ 58 h 201"/>
                <a:gd name="T20" fmla="*/ 139 w 245"/>
                <a:gd name="T21" fmla="*/ 61 h 201"/>
                <a:gd name="T22" fmla="*/ 145 w 245"/>
                <a:gd name="T23" fmla="*/ 68 h 201"/>
                <a:gd name="T24" fmla="*/ 166 w 245"/>
                <a:gd name="T25" fmla="*/ 68 h 201"/>
                <a:gd name="T26" fmla="*/ 134 w 245"/>
                <a:gd name="T27" fmla="*/ 124 h 201"/>
                <a:gd name="T28" fmla="*/ 126 w 245"/>
                <a:gd name="T29" fmla="*/ 137 h 201"/>
                <a:gd name="T30" fmla="*/ 52 w 245"/>
                <a:gd name="T31" fmla="*/ 166 h 201"/>
                <a:gd name="T32" fmla="*/ 48 w 245"/>
                <a:gd name="T33" fmla="*/ 134 h 201"/>
                <a:gd name="T34" fmla="*/ 91 w 245"/>
                <a:gd name="T35" fmla="*/ 132 h 201"/>
                <a:gd name="T36" fmla="*/ 116 w 245"/>
                <a:gd name="T37" fmla="*/ 65 h 201"/>
                <a:gd name="T38" fmla="*/ 40 w 245"/>
                <a:gd name="T39" fmla="*/ 89 h 201"/>
                <a:gd name="T40" fmla="*/ 28 w 245"/>
                <a:gd name="T41" fmla="*/ 187 h 201"/>
                <a:gd name="T42" fmla="*/ 122 w 245"/>
                <a:gd name="T43" fmla="*/ 154 h 201"/>
                <a:gd name="T44" fmla="*/ 121 w 245"/>
                <a:gd name="T45" fmla="*/ 161 h 201"/>
                <a:gd name="T46" fmla="*/ 129 w 245"/>
                <a:gd name="T47" fmla="*/ 183 h 201"/>
                <a:gd name="T48" fmla="*/ 198 w 245"/>
                <a:gd name="T49" fmla="*/ 150 h 201"/>
                <a:gd name="T50" fmla="*/ 189 w 245"/>
                <a:gd name="T51" fmla="*/ 150 h 201"/>
                <a:gd name="T52" fmla="*/ 158 w 245"/>
                <a:gd name="T53" fmla="*/ 168 h 201"/>
                <a:gd name="T54" fmla="*/ 202 w 245"/>
                <a:gd name="T55" fmla="*/ 68 h 201"/>
                <a:gd name="T56" fmla="*/ 242 w 245"/>
                <a:gd name="T57" fmla="*/ 68 h 201"/>
                <a:gd name="T58" fmla="*/ 106 w 245"/>
                <a:gd name="T59" fmla="*/ 72 h 201"/>
                <a:gd name="T60" fmla="*/ 89 w 245"/>
                <a:gd name="T61" fmla="*/ 111 h 201"/>
                <a:gd name="T62" fmla="*/ 50 w 245"/>
                <a:gd name="T63" fmla="*/ 125 h 201"/>
                <a:gd name="T64" fmla="*/ 106 w 245"/>
                <a:gd name="T65" fmla="*/ 72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5" h="201">
                  <a:moveTo>
                    <a:pt x="242" y="68"/>
                  </a:moveTo>
                  <a:cubicBezTo>
                    <a:pt x="243" y="68"/>
                    <a:pt x="245" y="66"/>
                    <a:pt x="243" y="64"/>
                  </a:cubicBezTo>
                  <a:cubicBezTo>
                    <a:pt x="239" y="59"/>
                    <a:pt x="225" y="58"/>
                    <a:pt x="209" y="58"/>
                  </a:cubicBezTo>
                  <a:cubicBezTo>
                    <a:pt x="212" y="52"/>
                    <a:pt x="221" y="39"/>
                    <a:pt x="223" y="35"/>
                  </a:cubicBezTo>
                  <a:cubicBezTo>
                    <a:pt x="226" y="28"/>
                    <a:pt x="226" y="24"/>
                    <a:pt x="224" y="21"/>
                  </a:cubicBezTo>
                  <a:cubicBezTo>
                    <a:pt x="220" y="16"/>
                    <a:pt x="208" y="3"/>
                    <a:pt x="207" y="1"/>
                  </a:cubicBezTo>
                  <a:cubicBezTo>
                    <a:pt x="205" y="0"/>
                    <a:pt x="203" y="0"/>
                    <a:pt x="203" y="2"/>
                  </a:cubicBezTo>
                  <a:cubicBezTo>
                    <a:pt x="203" y="5"/>
                    <a:pt x="203" y="6"/>
                    <a:pt x="202" y="8"/>
                  </a:cubicBezTo>
                  <a:cubicBezTo>
                    <a:pt x="200" y="13"/>
                    <a:pt x="172" y="58"/>
                    <a:pt x="172" y="58"/>
                  </a:cubicBezTo>
                  <a:cubicBezTo>
                    <a:pt x="142" y="58"/>
                    <a:pt x="142" y="58"/>
                    <a:pt x="142" y="58"/>
                  </a:cubicBezTo>
                  <a:cubicBezTo>
                    <a:pt x="142" y="58"/>
                    <a:pt x="138" y="58"/>
                    <a:pt x="139" y="61"/>
                  </a:cubicBezTo>
                  <a:cubicBezTo>
                    <a:pt x="140" y="64"/>
                    <a:pt x="145" y="68"/>
                    <a:pt x="145" y="68"/>
                  </a:cubicBezTo>
                  <a:cubicBezTo>
                    <a:pt x="154" y="68"/>
                    <a:pt x="166" y="68"/>
                    <a:pt x="166" y="68"/>
                  </a:cubicBezTo>
                  <a:cubicBezTo>
                    <a:pt x="166" y="68"/>
                    <a:pt x="145" y="106"/>
                    <a:pt x="134" y="124"/>
                  </a:cubicBezTo>
                  <a:cubicBezTo>
                    <a:pt x="132" y="128"/>
                    <a:pt x="130" y="133"/>
                    <a:pt x="126" y="137"/>
                  </a:cubicBezTo>
                  <a:cubicBezTo>
                    <a:pt x="117" y="147"/>
                    <a:pt x="82" y="182"/>
                    <a:pt x="52" y="166"/>
                  </a:cubicBezTo>
                  <a:cubicBezTo>
                    <a:pt x="43" y="161"/>
                    <a:pt x="44" y="145"/>
                    <a:pt x="48" y="134"/>
                  </a:cubicBezTo>
                  <a:cubicBezTo>
                    <a:pt x="48" y="134"/>
                    <a:pt x="68" y="145"/>
                    <a:pt x="91" y="132"/>
                  </a:cubicBezTo>
                  <a:cubicBezTo>
                    <a:pt x="124" y="113"/>
                    <a:pt x="142" y="78"/>
                    <a:pt x="116" y="65"/>
                  </a:cubicBezTo>
                  <a:cubicBezTo>
                    <a:pt x="91" y="53"/>
                    <a:pt x="64" y="65"/>
                    <a:pt x="40" y="89"/>
                  </a:cubicBezTo>
                  <a:cubicBezTo>
                    <a:pt x="5" y="126"/>
                    <a:pt x="0" y="175"/>
                    <a:pt x="28" y="187"/>
                  </a:cubicBezTo>
                  <a:cubicBezTo>
                    <a:pt x="59" y="201"/>
                    <a:pt x="99" y="179"/>
                    <a:pt x="122" y="154"/>
                  </a:cubicBezTo>
                  <a:cubicBezTo>
                    <a:pt x="121" y="156"/>
                    <a:pt x="121" y="159"/>
                    <a:pt x="121" y="161"/>
                  </a:cubicBezTo>
                  <a:cubicBezTo>
                    <a:pt x="121" y="168"/>
                    <a:pt x="122" y="179"/>
                    <a:pt x="129" y="183"/>
                  </a:cubicBezTo>
                  <a:cubicBezTo>
                    <a:pt x="152" y="199"/>
                    <a:pt x="185" y="168"/>
                    <a:pt x="198" y="150"/>
                  </a:cubicBezTo>
                  <a:cubicBezTo>
                    <a:pt x="200" y="148"/>
                    <a:pt x="191" y="148"/>
                    <a:pt x="189" y="150"/>
                  </a:cubicBezTo>
                  <a:cubicBezTo>
                    <a:pt x="180" y="156"/>
                    <a:pt x="164" y="173"/>
                    <a:pt x="158" y="168"/>
                  </a:cubicBezTo>
                  <a:cubicBezTo>
                    <a:pt x="151" y="161"/>
                    <a:pt x="181" y="102"/>
                    <a:pt x="202" y="68"/>
                  </a:cubicBezTo>
                  <a:cubicBezTo>
                    <a:pt x="216" y="67"/>
                    <a:pt x="233" y="68"/>
                    <a:pt x="242" y="68"/>
                  </a:cubicBezTo>
                  <a:moveTo>
                    <a:pt x="106" y="72"/>
                  </a:moveTo>
                  <a:cubicBezTo>
                    <a:pt x="113" y="74"/>
                    <a:pt x="98" y="102"/>
                    <a:pt x="89" y="111"/>
                  </a:cubicBezTo>
                  <a:cubicBezTo>
                    <a:pt x="71" y="129"/>
                    <a:pt x="50" y="125"/>
                    <a:pt x="50" y="125"/>
                  </a:cubicBezTo>
                  <a:cubicBezTo>
                    <a:pt x="58" y="99"/>
                    <a:pt x="96" y="70"/>
                    <a:pt x="106" y="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1" name="Freeform 22"/>
            <p:cNvSpPr>
              <a:spLocks noEditPoints="1"/>
            </p:cNvSpPr>
            <p:nvPr/>
          </p:nvSpPr>
          <p:spPr bwMode="auto">
            <a:xfrm>
              <a:off x="6613525" y="3644900"/>
              <a:ext cx="636587" cy="688975"/>
            </a:xfrm>
            <a:custGeom>
              <a:avLst/>
              <a:gdLst>
                <a:gd name="T0" fmla="*/ 142 w 170"/>
                <a:gd name="T1" fmla="*/ 22 h 184"/>
                <a:gd name="T2" fmla="*/ 130 w 170"/>
                <a:gd name="T3" fmla="*/ 4 h 184"/>
                <a:gd name="T4" fmla="*/ 44 w 170"/>
                <a:gd name="T5" fmla="*/ 42 h 184"/>
                <a:gd name="T6" fmla="*/ 28 w 170"/>
                <a:gd name="T7" fmla="*/ 120 h 184"/>
                <a:gd name="T8" fmla="*/ 100 w 170"/>
                <a:gd name="T9" fmla="*/ 88 h 184"/>
                <a:gd name="T10" fmla="*/ 78 w 170"/>
                <a:gd name="T11" fmla="*/ 133 h 184"/>
                <a:gd name="T12" fmla="*/ 40 w 170"/>
                <a:gd name="T13" fmla="*/ 166 h 184"/>
                <a:gd name="T14" fmla="*/ 12 w 170"/>
                <a:gd name="T15" fmla="*/ 142 h 184"/>
                <a:gd name="T16" fmla="*/ 0 w 170"/>
                <a:gd name="T17" fmla="*/ 153 h 184"/>
                <a:gd name="T18" fmla="*/ 45 w 170"/>
                <a:gd name="T19" fmla="*/ 180 h 184"/>
                <a:gd name="T20" fmla="*/ 134 w 170"/>
                <a:gd name="T21" fmla="*/ 84 h 184"/>
                <a:gd name="T22" fmla="*/ 167 w 170"/>
                <a:gd name="T23" fmla="*/ 23 h 184"/>
                <a:gd name="T24" fmla="*/ 144 w 170"/>
                <a:gd name="T25" fmla="*/ 19 h 184"/>
                <a:gd name="T26" fmla="*/ 142 w 170"/>
                <a:gd name="T27" fmla="*/ 22 h 184"/>
                <a:gd name="T28" fmla="*/ 123 w 170"/>
                <a:gd name="T29" fmla="*/ 40 h 184"/>
                <a:gd name="T30" fmla="*/ 58 w 170"/>
                <a:gd name="T31" fmla="*/ 92 h 184"/>
                <a:gd name="T32" fmla="*/ 78 w 170"/>
                <a:gd name="T33" fmla="*/ 40 h 184"/>
                <a:gd name="T34" fmla="*/ 123 w 170"/>
                <a:gd name="T35" fmla="*/ 4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84">
                  <a:moveTo>
                    <a:pt x="142" y="22"/>
                  </a:moveTo>
                  <a:cubicBezTo>
                    <a:pt x="142" y="22"/>
                    <a:pt x="141" y="9"/>
                    <a:pt x="130" y="4"/>
                  </a:cubicBezTo>
                  <a:cubicBezTo>
                    <a:pt x="119" y="0"/>
                    <a:pt x="76" y="3"/>
                    <a:pt x="44" y="42"/>
                  </a:cubicBezTo>
                  <a:cubicBezTo>
                    <a:pt x="18" y="75"/>
                    <a:pt x="13" y="104"/>
                    <a:pt x="28" y="120"/>
                  </a:cubicBezTo>
                  <a:cubicBezTo>
                    <a:pt x="39" y="131"/>
                    <a:pt x="69" y="128"/>
                    <a:pt x="100" y="88"/>
                  </a:cubicBezTo>
                  <a:cubicBezTo>
                    <a:pt x="99" y="90"/>
                    <a:pt x="81" y="127"/>
                    <a:pt x="78" y="133"/>
                  </a:cubicBezTo>
                  <a:cubicBezTo>
                    <a:pt x="67" y="152"/>
                    <a:pt x="49" y="165"/>
                    <a:pt x="40" y="166"/>
                  </a:cubicBezTo>
                  <a:cubicBezTo>
                    <a:pt x="17" y="170"/>
                    <a:pt x="13" y="151"/>
                    <a:pt x="12" y="142"/>
                  </a:cubicBezTo>
                  <a:cubicBezTo>
                    <a:pt x="12" y="141"/>
                    <a:pt x="0" y="142"/>
                    <a:pt x="0" y="153"/>
                  </a:cubicBezTo>
                  <a:cubicBezTo>
                    <a:pt x="0" y="168"/>
                    <a:pt x="17" y="184"/>
                    <a:pt x="45" y="180"/>
                  </a:cubicBezTo>
                  <a:cubicBezTo>
                    <a:pt x="94" y="173"/>
                    <a:pt x="112" y="134"/>
                    <a:pt x="134" y="84"/>
                  </a:cubicBezTo>
                  <a:cubicBezTo>
                    <a:pt x="137" y="77"/>
                    <a:pt x="153" y="42"/>
                    <a:pt x="167" y="23"/>
                  </a:cubicBezTo>
                  <a:cubicBezTo>
                    <a:pt x="170" y="20"/>
                    <a:pt x="148" y="15"/>
                    <a:pt x="144" y="19"/>
                  </a:cubicBezTo>
                  <a:lnTo>
                    <a:pt x="142" y="22"/>
                  </a:lnTo>
                  <a:close/>
                  <a:moveTo>
                    <a:pt x="123" y="40"/>
                  </a:moveTo>
                  <a:cubicBezTo>
                    <a:pt x="102" y="72"/>
                    <a:pt x="69" y="109"/>
                    <a:pt x="58" y="92"/>
                  </a:cubicBezTo>
                  <a:cubicBezTo>
                    <a:pt x="54" y="86"/>
                    <a:pt x="56" y="68"/>
                    <a:pt x="78" y="40"/>
                  </a:cubicBezTo>
                  <a:cubicBezTo>
                    <a:pt x="106" y="5"/>
                    <a:pt x="141" y="13"/>
                    <a:pt x="123" y="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2" name="Freeform 23"/>
            <p:cNvSpPr>
              <a:spLocks/>
            </p:cNvSpPr>
            <p:nvPr/>
          </p:nvSpPr>
          <p:spPr bwMode="auto">
            <a:xfrm>
              <a:off x="7723188" y="3400425"/>
              <a:ext cx="303212" cy="584200"/>
            </a:xfrm>
            <a:custGeom>
              <a:avLst/>
              <a:gdLst>
                <a:gd name="T0" fmla="*/ 79 w 81"/>
                <a:gd name="T1" fmla="*/ 18 h 156"/>
                <a:gd name="T2" fmla="*/ 51 w 81"/>
                <a:gd name="T3" fmla="*/ 0 h 156"/>
                <a:gd name="T4" fmla="*/ 6 w 81"/>
                <a:gd name="T5" fmla="*/ 116 h 156"/>
                <a:gd name="T6" fmla="*/ 9 w 81"/>
                <a:gd name="T7" fmla="*/ 152 h 156"/>
                <a:gd name="T8" fmla="*/ 18 w 81"/>
                <a:gd name="T9" fmla="*/ 145 h 156"/>
                <a:gd name="T10" fmla="*/ 75 w 81"/>
                <a:gd name="T11" fmla="*/ 39 h 156"/>
                <a:gd name="T12" fmla="*/ 79 w 81"/>
                <a:gd name="T13" fmla="*/ 1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56">
                  <a:moveTo>
                    <a:pt x="79" y="18"/>
                  </a:moveTo>
                  <a:cubicBezTo>
                    <a:pt x="74" y="11"/>
                    <a:pt x="57" y="2"/>
                    <a:pt x="51" y="0"/>
                  </a:cubicBezTo>
                  <a:cubicBezTo>
                    <a:pt x="39" y="31"/>
                    <a:pt x="20" y="71"/>
                    <a:pt x="6" y="116"/>
                  </a:cubicBezTo>
                  <a:cubicBezTo>
                    <a:pt x="3" y="129"/>
                    <a:pt x="0" y="145"/>
                    <a:pt x="9" y="152"/>
                  </a:cubicBezTo>
                  <a:cubicBezTo>
                    <a:pt x="14" y="156"/>
                    <a:pt x="16" y="150"/>
                    <a:pt x="18" y="145"/>
                  </a:cubicBezTo>
                  <a:cubicBezTo>
                    <a:pt x="37" y="104"/>
                    <a:pt x="73" y="43"/>
                    <a:pt x="75" y="39"/>
                  </a:cubicBezTo>
                  <a:cubicBezTo>
                    <a:pt x="81" y="29"/>
                    <a:pt x="81" y="21"/>
                    <a:pt x="79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3" name="Oval 24"/>
            <p:cNvSpPr>
              <a:spLocks noChangeArrowheads="1"/>
            </p:cNvSpPr>
            <p:nvPr/>
          </p:nvSpPr>
          <p:spPr bwMode="auto">
            <a:xfrm>
              <a:off x="7640638" y="4014788"/>
              <a:ext cx="134937" cy="1317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4" name="Freeform 25"/>
            <p:cNvSpPr>
              <a:spLocks/>
            </p:cNvSpPr>
            <p:nvPr/>
          </p:nvSpPr>
          <p:spPr bwMode="auto">
            <a:xfrm>
              <a:off x="6122988" y="3414713"/>
              <a:ext cx="160337" cy="188913"/>
            </a:xfrm>
            <a:custGeom>
              <a:avLst/>
              <a:gdLst>
                <a:gd name="T0" fmla="*/ 8 w 43"/>
                <a:gd name="T1" fmla="*/ 50 h 50"/>
                <a:gd name="T2" fmla="*/ 43 w 43"/>
                <a:gd name="T3" fmla="*/ 20 h 50"/>
                <a:gd name="T4" fmla="*/ 31 w 43"/>
                <a:gd name="T5" fmla="*/ 4 h 50"/>
                <a:gd name="T6" fmla="*/ 20 w 43"/>
                <a:gd name="T7" fmla="*/ 35 h 50"/>
                <a:gd name="T8" fmla="*/ 3 w 43"/>
                <a:gd name="T9" fmla="*/ 46 h 50"/>
                <a:gd name="T10" fmla="*/ 8 w 43"/>
                <a:gd name="T1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50">
                  <a:moveTo>
                    <a:pt x="8" y="50"/>
                  </a:moveTo>
                  <a:cubicBezTo>
                    <a:pt x="25" y="50"/>
                    <a:pt x="40" y="41"/>
                    <a:pt x="43" y="20"/>
                  </a:cubicBezTo>
                  <a:cubicBezTo>
                    <a:pt x="43" y="18"/>
                    <a:pt x="43" y="6"/>
                    <a:pt x="31" y="4"/>
                  </a:cubicBezTo>
                  <a:cubicBezTo>
                    <a:pt x="7" y="0"/>
                    <a:pt x="2" y="30"/>
                    <a:pt x="20" y="35"/>
                  </a:cubicBezTo>
                  <a:cubicBezTo>
                    <a:pt x="17" y="42"/>
                    <a:pt x="10" y="44"/>
                    <a:pt x="3" y="46"/>
                  </a:cubicBezTo>
                  <a:cubicBezTo>
                    <a:pt x="0" y="47"/>
                    <a:pt x="5" y="50"/>
                    <a:pt x="8" y="5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5" name="Freeform 26"/>
            <p:cNvSpPr>
              <a:spLocks noEditPoints="1"/>
            </p:cNvSpPr>
            <p:nvPr/>
          </p:nvSpPr>
          <p:spPr bwMode="auto">
            <a:xfrm>
              <a:off x="7018338" y="3562350"/>
              <a:ext cx="787400" cy="647700"/>
            </a:xfrm>
            <a:custGeom>
              <a:avLst/>
              <a:gdLst>
                <a:gd name="T0" fmla="*/ 158 w 210"/>
                <a:gd name="T1" fmla="*/ 37 h 173"/>
                <a:gd name="T2" fmla="*/ 71 w 210"/>
                <a:gd name="T3" fmla="*/ 154 h 173"/>
                <a:gd name="T4" fmla="*/ 158 w 210"/>
                <a:gd name="T5" fmla="*/ 37 h 173"/>
                <a:gd name="T6" fmla="*/ 132 w 210"/>
                <a:gd name="T7" fmla="*/ 102 h 173"/>
                <a:gd name="T8" fmla="*/ 120 w 210"/>
                <a:gd name="T9" fmla="*/ 119 h 173"/>
                <a:gd name="T10" fmla="*/ 106 w 210"/>
                <a:gd name="T11" fmla="*/ 132 h 173"/>
                <a:gd name="T12" fmla="*/ 84 w 210"/>
                <a:gd name="T13" fmla="*/ 141 h 173"/>
                <a:gd name="T14" fmla="*/ 90 w 210"/>
                <a:gd name="T15" fmla="*/ 81 h 173"/>
                <a:gd name="T16" fmla="*/ 143 w 210"/>
                <a:gd name="T17" fmla="*/ 41 h 173"/>
                <a:gd name="T18" fmla="*/ 132 w 210"/>
                <a:gd name="T19" fmla="*/ 10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0" h="173">
                  <a:moveTo>
                    <a:pt x="158" y="37"/>
                  </a:moveTo>
                  <a:cubicBezTo>
                    <a:pt x="74" y="0"/>
                    <a:pt x="0" y="135"/>
                    <a:pt x="71" y="154"/>
                  </a:cubicBezTo>
                  <a:cubicBezTo>
                    <a:pt x="138" y="173"/>
                    <a:pt x="210" y="60"/>
                    <a:pt x="158" y="37"/>
                  </a:cubicBezTo>
                  <a:moveTo>
                    <a:pt x="132" y="102"/>
                  </a:moveTo>
                  <a:cubicBezTo>
                    <a:pt x="129" y="107"/>
                    <a:pt x="125" y="113"/>
                    <a:pt x="120" y="119"/>
                  </a:cubicBezTo>
                  <a:cubicBezTo>
                    <a:pt x="114" y="124"/>
                    <a:pt x="110" y="129"/>
                    <a:pt x="106" y="132"/>
                  </a:cubicBezTo>
                  <a:cubicBezTo>
                    <a:pt x="98" y="137"/>
                    <a:pt x="91" y="141"/>
                    <a:pt x="84" y="141"/>
                  </a:cubicBezTo>
                  <a:cubicBezTo>
                    <a:pt x="67" y="140"/>
                    <a:pt x="70" y="108"/>
                    <a:pt x="90" y="81"/>
                  </a:cubicBezTo>
                  <a:cubicBezTo>
                    <a:pt x="105" y="59"/>
                    <a:pt x="127" y="34"/>
                    <a:pt x="143" y="41"/>
                  </a:cubicBezTo>
                  <a:cubicBezTo>
                    <a:pt x="155" y="47"/>
                    <a:pt x="148" y="74"/>
                    <a:pt x="132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702157" y="1181100"/>
            <a:ext cx="727473" cy="996950"/>
            <a:chOff x="4936" y="176"/>
            <a:chExt cx="423" cy="628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dirty="0">
                <a:solidFill>
                  <a:srgbClr val="6C6F7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dirty="0">
                <a:solidFill>
                  <a:srgbClr val="6C6F7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dirty="0">
                <a:solidFill>
                  <a:srgbClr val="6C6F7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dirty="0">
                <a:solidFill>
                  <a:srgbClr val="6C6F70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368513" y="1181100"/>
            <a:ext cx="1061114" cy="730250"/>
            <a:chOff x="4750" y="176"/>
            <a:chExt cx="617" cy="46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Calibri" pitchFamily="34" charset="0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Calibri" pitchFamily="34" charset="0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Calibri" pitchFamily="34" charset="0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</p:grpSp>
      <p:grpSp>
        <p:nvGrpSpPr>
          <p:cNvPr id="42" name="McKSticker" hidden="1"/>
          <p:cNvGrpSpPr>
            <a:grpSpLocks/>
          </p:cNvGrpSpPr>
          <p:nvPr/>
        </p:nvGrpSpPr>
        <p:grpSpPr bwMode="auto">
          <a:xfrm>
            <a:off x="8577109" y="1181100"/>
            <a:ext cx="886909" cy="212366"/>
            <a:chOff x="7921298" y="285750"/>
            <a:chExt cx="819477" cy="213241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921298" y="285750"/>
              <a:ext cx="819477" cy="21324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r"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808080"/>
                  </a:solidFill>
                  <a:latin typeface="Calibri" pitchFamily="34" charset="0"/>
                  <a:cs typeface="Calibri" pitchFamily="34" charset="0"/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</p:cNvCxnSpPr>
            <p:nvPr/>
          </p:nvCxnSpPr>
          <p:spPr bwMode="auto">
            <a:xfrm>
              <a:off x="792416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</p:cNvCxnSpPr>
            <p:nvPr/>
          </p:nvCxnSpPr>
          <p:spPr bwMode="auto">
            <a:xfrm>
              <a:off x="7924161" y="498116"/>
              <a:ext cx="81661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>
            <a:grpSpLocks/>
          </p:cNvGrpSpPr>
          <p:nvPr/>
        </p:nvGrpSpPr>
        <p:grpSpPr bwMode="auto">
          <a:xfrm>
            <a:off x="8631640" y="1181103"/>
            <a:ext cx="799370" cy="1306513"/>
            <a:chOff x="6655594" y="273840"/>
            <a:chExt cx="737587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6976142" y="286540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6976142" y="561179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6976142" y="835816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6976142" y="1107280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6976142" y="1383506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</p:grpSp>
      <p:sp>
        <p:nvSpPr>
          <p:cNvPr id="67" name="Slide Number"/>
          <p:cNvSpPr txBox="1">
            <a:spLocks/>
          </p:cNvSpPr>
          <p:nvPr userDrawn="1"/>
        </p:nvSpPr>
        <p:spPr bwMode="auto">
          <a:xfrm>
            <a:off x="9614775" y="6581825"/>
            <a:ext cx="15078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0A93E05A-36F9-4C00-AA69-3401A4A57D0C}" type="slidenum">
              <a:rPr lang="en-US" smtClean="0">
                <a:solidFill>
                  <a:srgbClr val="6C6F70"/>
                </a:solidFill>
                <a:cs typeface="+mn-cs"/>
              </a:rPr>
              <a:pPr algn="ctr">
                <a:defRPr/>
              </a:pPr>
              <a:t>‹#›</a:t>
            </a:fld>
            <a:endParaRPr lang="en-US" dirty="0">
              <a:solidFill>
                <a:srgbClr val="6C6F70"/>
              </a:solidFill>
              <a:cs typeface="+mn-cs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21520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3"/>
          <a:ext cx="175419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41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292"/>
                      <p:cNvPicPr>
                        <a:picLocks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3"/>
                        <a:ext cx="175419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/>
          <p:cNvSpPr>
            <a:spLocks noChangeArrowheads="1"/>
          </p:cNvSpPr>
          <p:nvPr/>
        </p:nvSpPr>
        <p:spPr bwMode="auto">
          <a:xfrm>
            <a:off x="8739981" y="36513"/>
            <a:ext cx="724033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912813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912813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912813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912813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9001462" y="2562892"/>
            <a:ext cx="165429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dirty="0" smtClean="0">
                <a:solidFill>
                  <a:srgbClr val="6C6F70"/>
                </a:solidFill>
                <a:latin typeface="Calibri"/>
                <a:cs typeface="+mn-cs"/>
              </a:rPr>
              <a:t>Last Modified 05/12/2013 06:36 GMT Standard Time</a:t>
            </a:r>
            <a:endParaRPr lang="en-US" dirty="0" smtClean="0">
              <a:solidFill>
                <a:srgbClr val="6C6F70"/>
              </a:solidFill>
              <a:latin typeface="Calibri"/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9037866" y="4780629"/>
            <a:ext cx="15814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6C6F70"/>
                </a:solidFill>
                <a:latin typeface="Calibri"/>
                <a:cs typeface="+mn-cs"/>
              </a:rPr>
              <a:t>Printed 10/28/2013 11:12 AM GMT Standard Time</a:t>
            </a:r>
            <a:endParaRPr lang="en-US" dirty="0" smtClean="0">
              <a:solidFill>
                <a:srgbClr val="6C6F70"/>
              </a:solidFill>
              <a:latin typeface="Calibri"/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441989" y="26988"/>
            <a:ext cx="66300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808080"/>
                </a:solidFill>
                <a:latin typeface="Calibri" pitchFamily="34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441989" y="1117603"/>
            <a:ext cx="9022027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Calibri"/>
                <a:cs typeface="+mn-cs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441989" y="6026150"/>
            <a:ext cx="9022027" cy="381000"/>
            <a:chOff x="75" y="3915"/>
            <a:chExt cx="5385" cy="23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15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5250" indent="-95250">
                <a:defRPr/>
              </a:pPr>
              <a:r>
                <a:rPr lang="en-US" sz="1000" dirty="0" smtClean="0">
                  <a:solidFill>
                    <a:srgbClr val="6C6F70"/>
                  </a:solidFill>
                  <a:latin typeface="Calibri"/>
                  <a:cs typeface="+mn-cs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379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485775" indent="-485775" defTabSz="91281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91281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91281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91281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91281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sz="1000" dirty="0">
                  <a:solidFill>
                    <a:srgbClr val="6C6F70"/>
                  </a:solidFill>
                  <a:latin typeface="Calibri" pitchFamily="34" charset="0"/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25158" y="2032003"/>
            <a:ext cx="4713950" cy="519113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b="1" dirty="0">
                  <a:solidFill>
                    <a:srgbClr val="6C6F70"/>
                  </a:solidFill>
                  <a:latin typeface="Calibri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US" dirty="0">
                  <a:solidFill>
                    <a:srgbClr val="808080"/>
                  </a:solidFill>
                  <a:latin typeface="Calibri" pitchFamily="34" charset="0"/>
                </a:rPr>
                <a:t>Unit of measure</a:t>
              </a:r>
            </a:p>
          </p:txBody>
        </p:sp>
      </p:grpSp>
      <p:sp>
        <p:nvSpPr>
          <p:cNvPr id="15" name="Line 8"/>
          <p:cNvSpPr>
            <a:spLocks noChangeShapeType="1"/>
          </p:cNvSpPr>
          <p:nvPr/>
        </p:nvSpPr>
        <p:spPr bwMode="auto">
          <a:xfrm>
            <a:off x="441989" y="1109663"/>
            <a:ext cx="9022027" cy="0"/>
          </a:xfrm>
          <a:prstGeom prst="line">
            <a:avLst/>
          </a:prstGeom>
          <a:noFill/>
          <a:ln w="19050">
            <a:solidFill>
              <a:srgbClr val="F8AC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dirty="0"/>
          </a:p>
        </p:txBody>
      </p:sp>
      <p:pic>
        <p:nvPicPr>
          <p:cNvPr id="16" name="Picture 3" descr="F:\00_eldorado\Thomas Cook\07 TCLC 09.2013\00 brand design\logos\00 Group\ThomasCook_hori_office.png"/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99509" y="6494466"/>
            <a:ext cx="1755907" cy="22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7" name="Gruppieren 10"/>
          <p:cNvGrpSpPr>
            <a:grpSpLocks noChangeAspect="1"/>
          </p:cNvGrpSpPr>
          <p:nvPr/>
        </p:nvGrpSpPr>
        <p:grpSpPr bwMode="auto">
          <a:xfrm>
            <a:off x="440944" y="6505360"/>
            <a:ext cx="975000" cy="256646"/>
            <a:chOff x="4741863" y="3397250"/>
            <a:chExt cx="3284537" cy="936625"/>
          </a:xfrm>
          <a:solidFill>
            <a:srgbClr val="6C6F70"/>
          </a:solidFill>
        </p:grpSpPr>
        <p:sp>
          <p:nvSpPr>
            <p:cNvPr id="18" name="Freeform 19"/>
            <p:cNvSpPr>
              <a:spLocks/>
            </p:cNvSpPr>
            <p:nvPr/>
          </p:nvSpPr>
          <p:spPr bwMode="auto">
            <a:xfrm>
              <a:off x="6073775" y="3670300"/>
              <a:ext cx="457200" cy="490538"/>
            </a:xfrm>
            <a:custGeom>
              <a:avLst/>
              <a:gdLst>
                <a:gd name="T0" fmla="*/ 92 w 122"/>
                <a:gd name="T1" fmla="*/ 0 h 131"/>
                <a:gd name="T2" fmla="*/ 35 w 122"/>
                <a:gd name="T3" fmla="*/ 28 h 131"/>
                <a:gd name="T4" fmla="*/ 25 w 122"/>
                <a:gd name="T5" fmla="*/ 43 h 131"/>
                <a:gd name="T6" fmla="*/ 45 w 122"/>
                <a:gd name="T7" fmla="*/ 86 h 131"/>
                <a:gd name="T8" fmla="*/ 60 w 122"/>
                <a:gd name="T9" fmla="*/ 99 h 131"/>
                <a:gd name="T10" fmla="*/ 60 w 122"/>
                <a:gd name="T11" fmla="*/ 109 h 131"/>
                <a:gd name="T12" fmla="*/ 17 w 122"/>
                <a:gd name="T13" fmla="*/ 111 h 131"/>
                <a:gd name="T14" fmla="*/ 2 w 122"/>
                <a:gd name="T15" fmla="*/ 101 h 131"/>
                <a:gd name="T16" fmla="*/ 1 w 122"/>
                <a:gd name="T17" fmla="*/ 103 h 131"/>
                <a:gd name="T18" fmla="*/ 2 w 122"/>
                <a:gd name="T19" fmla="*/ 109 h 131"/>
                <a:gd name="T20" fmla="*/ 12 w 122"/>
                <a:gd name="T21" fmla="*/ 119 h 131"/>
                <a:gd name="T22" fmla="*/ 64 w 122"/>
                <a:gd name="T23" fmla="*/ 129 h 131"/>
                <a:gd name="T24" fmla="*/ 80 w 122"/>
                <a:gd name="T25" fmla="*/ 84 h 131"/>
                <a:gd name="T26" fmla="*/ 62 w 122"/>
                <a:gd name="T27" fmla="*/ 46 h 131"/>
                <a:gd name="T28" fmla="*/ 72 w 122"/>
                <a:gd name="T29" fmla="*/ 31 h 131"/>
                <a:gd name="T30" fmla="*/ 110 w 122"/>
                <a:gd name="T31" fmla="*/ 26 h 131"/>
                <a:gd name="T32" fmla="*/ 112 w 122"/>
                <a:gd name="T33" fmla="*/ 34 h 131"/>
                <a:gd name="T34" fmla="*/ 121 w 122"/>
                <a:gd name="T35" fmla="*/ 36 h 131"/>
                <a:gd name="T36" fmla="*/ 121 w 122"/>
                <a:gd name="T37" fmla="*/ 21 h 131"/>
                <a:gd name="T38" fmla="*/ 92 w 122"/>
                <a:gd name="T39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2" h="131">
                  <a:moveTo>
                    <a:pt x="92" y="0"/>
                  </a:moveTo>
                  <a:cubicBezTo>
                    <a:pt x="71" y="0"/>
                    <a:pt x="49" y="12"/>
                    <a:pt x="35" y="28"/>
                  </a:cubicBezTo>
                  <a:cubicBezTo>
                    <a:pt x="31" y="32"/>
                    <a:pt x="27" y="38"/>
                    <a:pt x="25" y="43"/>
                  </a:cubicBezTo>
                  <a:cubicBezTo>
                    <a:pt x="17" y="61"/>
                    <a:pt x="31" y="78"/>
                    <a:pt x="45" y="86"/>
                  </a:cubicBezTo>
                  <a:cubicBezTo>
                    <a:pt x="51" y="89"/>
                    <a:pt x="57" y="93"/>
                    <a:pt x="60" y="99"/>
                  </a:cubicBezTo>
                  <a:cubicBezTo>
                    <a:pt x="61" y="102"/>
                    <a:pt x="61" y="106"/>
                    <a:pt x="60" y="109"/>
                  </a:cubicBezTo>
                  <a:cubicBezTo>
                    <a:pt x="52" y="119"/>
                    <a:pt x="24" y="114"/>
                    <a:pt x="17" y="111"/>
                  </a:cubicBezTo>
                  <a:cubicBezTo>
                    <a:pt x="11" y="108"/>
                    <a:pt x="7" y="104"/>
                    <a:pt x="2" y="101"/>
                  </a:cubicBezTo>
                  <a:cubicBezTo>
                    <a:pt x="2" y="101"/>
                    <a:pt x="1" y="101"/>
                    <a:pt x="1" y="103"/>
                  </a:cubicBezTo>
                  <a:cubicBezTo>
                    <a:pt x="0" y="105"/>
                    <a:pt x="0" y="107"/>
                    <a:pt x="2" y="109"/>
                  </a:cubicBezTo>
                  <a:cubicBezTo>
                    <a:pt x="4" y="113"/>
                    <a:pt x="8" y="116"/>
                    <a:pt x="12" y="119"/>
                  </a:cubicBezTo>
                  <a:cubicBezTo>
                    <a:pt x="27" y="128"/>
                    <a:pt x="46" y="131"/>
                    <a:pt x="64" y="129"/>
                  </a:cubicBezTo>
                  <a:cubicBezTo>
                    <a:pt x="93" y="125"/>
                    <a:pt x="97" y="100"/>
                    <a:pt x="80" y="84"/>
                  </a:cubicBezTo>
                  <a:cubicBezTo>
                    <a:pt x="67" y="73"/>
                    <a:pt x="55" y="65"/>
                    <a:pt x="62" y="46"/>
                  </a:cubicBezTo>
                  <a:cubicBezTo>
                    <a:pt x="64" y="40"/>
                    <a:pt x="68" y="35"/>
                    <a:pt x="72" y="31"/>
                  </a:cubicBezTo>
                  <a:cubicBezTo>
                    <a:pt x="80" y="23"/>
                    <a:pt x="107" y="7"/>
                    <a:pt x="110" y="26"/>
                  </a:cubicBezTo>
                  <a:cubicBezTo>
                    <a:pt x="110" y="30"/>
                    <a:pt x="110" y="31"/>
                    <a:pt x="112" y="34"/>
                  </a:cubicBezTo>
                  <a:cubicBezTo>
                    <a:pt x="113" y="36"/>
                    <a:pt x="118" y="39"/>
                    <a:pt x="121" y="36"/>
                  </a:cubicBezTo>
                  <a:cubicBezTo>
                    <a:pt x="121" y="36"/>
                    <a:pt x="122" y="25"/>
                    <a:pt x="121" y="21"/>
                  </a:cubicBezTo>
                  <a:cubicBezTo>
                    <a:pt x="118" y="10"/>
                    <a:pt x="97" y="0"/>
                    <a:pt x="9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9" name="Freeform 20"/>
            <p:cNvSpPr>
              <a:spLocks/>
            </p:cNvSpPr>
            <p:nvPr/>
          </p:nvSpPr>
          <p:spPr bwMode="auto">
            <a:xfrm>
              <a:off x="4741863" y="3397250"/>
              <a:ext cx="522287" cy="793750"/>
            </a:xfrm>
            <a:custGeom>
              <a:avLst/>
              <a:gdLst>
                <a:gd name="T0" fmla="*/ 122 w 139"/>
                <a:gd name="T1" fmla="*/ 186 h 212"/>
                <a:gd name="T2" fmla="*/ 41 w 139"/>
                <a:gd name="T3" fmla="*/ 190 h 212"/>
                <a:gd name="T4" fmla="*/ 115 w 139"/>
                <a:gd name="T5" fmla="*/ 58 h 212"/>
                <a:gd name="T6" fmla="*/ 132 w 139"/>
                <a:gd name="T7" fmla="*/ 25 h 212"/>
                <a:gd name="T8" fmla="*/ 131 w 139"/>
                <a:gd name="T9" fmla="*/ 17 h 212"/>
                <a:gd name="T10" fmla="*/ 118 w 139"/>
                <a:gd name="T11" fmla="*/ 0 h 212"/>
                <a:gd name="T12" fmla="*/ 114 w 139"/>
                <a:gd name="T13" fmla="*/ 1 h 212"/>
                <a:gd name="T14" fmla="*/ 101 w 139"/>
                <a:gd name="T15" fmla="*/ 18 h 212"/>
                <a:gd name="T16" fmla="*/ 50 w 139"/>
                <a:gd name="T17" fmla="*/ 92 h 212"/>
                <a:gd name="T18" fmla="*/ 29 w 139"/>
                <a:gd name="T19" fmla="*/ 128 h 212"/>
                <a:gd name="T20" fmla="*/ 6 w 139"/>
                <a:gd name="T21" fmla="*/ 172 h 212"/>
                <a:gd name="T22" fmla="*/ 23 w 139"/>
                <a:gd name="T23" fmla="*/ 208 h 212"/>
                <a:gd name="T24" fmla="*/ 31 w 139"/>
                <a:gd name="T25" fmla="*/ 212 h 212"/>
                <a:gd name="T26" fmla="*/ 136 w 139"/>
                <a:gd name="T27" fmla="*/ 198 h 212"/>
                <a:gd name="T28" fmla="*/ 122 w 139"/>
                <a:gd name="T29" fmla="*/ 186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9" h="212">
                  <a:moveTo>
                    <a:pt x="122" y="186"/>
                  </a:moveTo>
                  <a:cubicBezTo>
                    <a:pt x="97" y="180"/>
                    <a:pt x="64" y="188"/>
                    <a:pt x="41" y="190"/>
                  </a:cubicBezTo>
                  <a:cubicBezTo>
                    <a:pt x="61" y="154"/>
                    <a:pt x="96" y="91"/>
                    <a:pt x="115" y="58"/>
                  </a:cubicBezTo>
                  <a:cubicBezTo>
                    <a:pt x="120" y="49"/>
                    <a:pt x="128" y="34"/>
                    <a:pt x="132" y="25"/>
                  </a:cubicBezTo>
                  <a:cubicBezTo>
                    <a:pt x="132" y="25"/>
                    <a:pt x="134" y="22"/>
                    <a:pt x="131" y="17"/>
                  </a:cubicBezTo>
                  <a:cubicBezTo>
                    <a:pt x="130" y="12"/>
                    <a:pt x="119" y="2"/>
                    <a:pt x="118" y="0"/>
                  </a:cubicBezTo>
                  <a:cubicBezTo>
                    <a:pt x="117" y="0"/>
                    <a:pt x="115" y="0"/>
                    <a:pt x="114" y="1"/>
                  </a:cubicBezTo>
                  <a:cubicBezTo>
                    <a:pt x="110" y="6"/>
                    <a:pt x="102" y="15"/>
                    <a:pt x="101" y="18"/>
                  </a:cubicBezTo>
                  <a:cubicBezTo>
                    <a:pt x="97" y="22"/>
                    <a:pt x="59" y="78"/>
                    <a:pt x="50" y="92"/>
                  </a:cubicBezTo>
                  <a:cubicBezTo>
                    <a:pt x="47" y="98"/>
                    <a:pt x="32" y="121"/>
                    <a:pt x="29" y="128"/>
                  </a:cubicBezTo>
                  <a:cubicBezTo>
                    <a:pt x="19" y="146"/>
                    <a:pt x="12" y="159"/>
                    <a:pt x="6" y="172"/>
                  </a:cubicBezTo>
                  <a:cubicBezTo>
                    <a:pt x="0" y="192"/>
                    <a:pt x="16" y="203"/>
                    <a:pt x="23" y="208"/>
                  </a:cubicBezTo>
                  <a:cubicBezTo>
                    <a:pt x="23" y="208"/>
                    <a:pt x="28" y="212"/>
                    <a:pt x="31" y="212"/>
                  </a:cubicBezTo>
                  <a:cubicBezTo>
                    <a:pt x="45" y="212"/>
                    <a:pt x="106" y="198"/>
                    <a:pt x="136" y="198"/>
                  </a:cubicBezTo>
                  <a:cubicBezTo>
                    <a:pt x="139" y="197"/>
                    <a:pt x="130" y="191"/>
                    <a:pt x="122" y="18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0" name="Freeform 21"/>
            <p:cNvSpPr>
              <a:spLocks noEditPoints="1"/>
            </p:cNvSpPr>
            <p:nvPr/>
          </p:nvSpPr>
          <p:spPr bwMode="auto">
            <a:xfrm>
              <a:off x="5222875" y="3449638"/>
              <a:ext cx="917575" cy="752475"/>
            </a:xfrm>
            <a:custGeom>
              <a:avLst/>
              <a:gdLst>
                <a:gd name="T0" fmla="*/ 242 w 245"/>
                <a:gd name="T1" fmla="*/ 68 h 201"/>
                <a:gd name="T2" fmla="*/ 243 w 245"/>
                <a:gd name="T3" fmla="*/ 64 h 201"/>
                <a:gd name="T4" fmla="*/ 209 w 245"/>
                <a:gd name="T5" fmla="*/ 58 h 201"/>
                <a:gd name="T6" fmla="*/ 223 w 245"/>
                <a:gd name="T7" fmla="*/ 35 h 201"/>
                <a:gd name="T8" fmla="*/ 224 w 245"/>
                <a:gd name="T9" fmla="*/ 21 h 201"/>
                <a:gd name="T10" fmla="*/ 207 w 245"/>
                <a:gd name="T11" fmla="*/ 1 h 201"/>
                <a:gd name="T12" fmla="*/ 203 w 245"/>
                <a:gd name="T13" fmla="*/ 2 h 201"/>
                <a:gd name="T14" fmla="*/ 202 w 245"/>
                <a:gd name="T15" fmla="*/ 8 h 201"/>
                <a:gd name="T16" fmla="*/ 172 w 245"/>
                <a:gd name="T17" fmla="*/ 58 h 201"/>
                <a:gd name="T18" fmla="*/ 142 w 245"/>
                <a:gd name="T19" fmla="*/ 58 h 201"/>
                <a:gd name="T20" fmla="*/ 139 w 245"/>
                <a:gd name="T21" fmla="*/ 61 h 201"/>
                <a:gd name="T22" fmla="*/ 145 w 245"/>
                <a:gd name="T23" fmla="*/ 68 h 201"/>
                <a:gd name="T24" fmla="*/ 166 w 245"/>
                <a:gd name="T25" fmla="*/ 68 h 201"/>
                <a:gd name="T26" fmla="*/ 134 w 245"/>
                <a:gd name="T27" fmla="*/ 124 h 201"/>
                <a:gd name="T28" fmla="*/ 126 w 245"/>
                <a:gd name="T29" fmla="*/ 137 h 201"/>
                <a:gd name="T30" fmla="*/ 52 w 245"/>
                <a:gd name="T31" fmla="*/ 166 h 201"/>
                <a:gd name="T32" fmla="*/ 48 w 245"/>
                <a:gd name="T33" fmla="*/ 134 h 201"/>
                <a:gd name="T34" fmla="*/ 91 w 245"/>
                <a:gd name="T35" fmla="*/ 132 h 201"/>
                <a:gd name="T36" fmla="*/ 116 w 245"/>
                <a:gd name="T37" fmla="*/ 65 h 201"/>
                <a:gd name="T38" fmla="*/ 40 w 245"/>
                <a:gd name="T39" fmla="*/ 89 h 201"/>
                <a:gd name="T40" fmla="*/ 28 w 245"/>
                <a:gd name="T41" fmla="*/ 187 h 201"/>
                <a:gd name="T42" fmla="*/ 122 w 245"/>
                <a:gd name="T43" fmla="*/ 154 h 201"/>
                <a:gd name="T44" fmla="*/ 121 w 245"/>
                <a:gd name="T45" fmla="*/ 161 h 201"/>
                <a:gd name="T46" fmla="*/ 129 w 245"/>
                <a:gd name="T47" fmla="*/ 183 h 201"/>
                <a:gd name="T48" fmla="*/ 198 w 245"/>
                <a:gd name="T49" fmla="*/ 150 h 201"/>
                <a:gd name="T50" fmla="*/ 189 w 245"/>
                <a:gd name="T51" fmla="*/ 150 h 201"/>
                <a:gd name="T52" fmla="*/ 158 w 245"/>
                <a:gd name="T53" fmla="*/ 168 h 201"/>
                <a:gd name="T54" fmla="*/ 202 w 245"/>
                <a:gd name="T55" fmla="*/ 68 h 201"/>
                <a:gd name="T56" fmla="*/ 242 w 245"/>
                <a:gd name="T57" fmla="*/ 68 h 201"/>
                <a:gd name="T58" fmla="*/ 106 w 245"/>
                <a:gd name="T59" fmla="*/ 72 h 201"/>
                <a:gd name="T60" fmla="*/ 89 w 245"/>
                <a:gd name="T61" fmla="*/ 111 h 201"/>
                <a:gd name="T62" fmla="*/ 50 w 245"/>
                <a:gd name="T63" fmla="*/ 125 h 201"/>
                <a:gd name="T64" fmla="*/ 106 w 245"/>
                <a:gd name="T65" fmla="*/ 72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5" h="201">
                  <a:moveTo>
                    <a:pt x="242" y="68"/>
                  </a:moveTo>
                  <a:cubicBezTo>
                    <a:pt x="243" y="68"/>
                    <a:pt x="245" y="66"/>
                    <a:pt x="243" y="64"/>
                  </a:cubicBezTo>
                  <a:cubicBezTo>
                    <a:pt x="239" y="59"/>
                    <a:pt x="225" y="58"/>
                    <a:pt x="209" y="58"/>
                  </a:cubicBezTo>
                  <a:cubicBezTo>
                    <a:pt x="212" y="52"/>
                    <a:pt x="221" y="39"/>
                    <a:pt x="223" y="35"/>
                  </a:cubicBezTo>
                  <a:cubicBezTo>
                    <a:pt x="226" y="28"/>
                    <a:pt x="226" y="24"/>
                    <a:pt x="224" y="21"/>
                  </a:cubicBezTo>
                  <a:cubicBezTo>
                    <a:pt x="220" y="16"/>
                    <a:pt x="208" y="3"/>
                    <a:pt x="207" y="1"/>
                  </a:cubicBezTo>
                  <a:cubicBezTo>
                    <a:pt x="205" y="0"/>
                    <a:pt x="203" y="0"/>
                    <a:pt x="203" y="2"/>
                  </a:cubicBezTo>
                  <a:cubicBezTo>
                    <a:pt x="203" y="5"/>
                    <a:pt x="203" y="6"/>
                    <a:pt x="202" y="8"/>
                  </a:cubicBezTo>
                  <a:cubicBezTo>
                    <a:pt x="200" y="13"/>
                    <a:pt x="172" y="58"/>
                    <a:pt x="172" y="58"/>
                  </a:cubicBezTo>
                  <a:cubicBezTo>
                    <a:pt x="142" y="58"/>
                    <a:pt x="142" y="58"/>
                    <a:pt x="142" y="58"/>
                  </a:cubicBezTo>
                  <a:cubicBezTo>
                    <a:pt x="142" y="58"/>
                    <a:pt x="138" y="58"/>
                    <a:pt x="139" y="61"/>
                  </a:cubicBezTo>
                  <a:cubicBezTo>
                    <a:pt x="140" y="64"/>
                    <a:pt x="145" y="68"/>
                    <a:pt x="145" y="68"/>
                  </a:cubicBezTo>
                  <a:cubicBezTo>
                    <a:pt x="154" y="68"/>
                    <a:pt x="166" y="68"/>
                    <a:pt x="166" y="68"/>
                  </a:cubicBezTo>
                  <a:cubicBezTo>
                    <a:pt x="166" y="68"/>
                    <a:pt x="145" y="106"/>
                    <a:pt x="134" y="124"/>
                  </a:cubicBezTo>
                  <a:cubicBezTo>
                    <a:pt x="132" y="128"/>
                    <a:pt x="130" y="133"/>
                    <a:pt x="126" y="137"/>
                  </a:cubicBezTo>
                  <a:cubicBezTo>
                    <a:pt x="117" y="147"/>
                    <a:pt x="82" y="182"/>
                    <a:pt x="52" y="166"/>
                  </a:cubicBezTo>
                  <a:cubicBezTo>
                    <a:pt x="43" y="161"/>
                    <a:pt x="44" y="145"/>
                    <a:pt x="48" y="134"/>
                  </a:cubicBezTo>
                  <a:cubicBezTo>
                    <a:pt x="48" y="134"/>
                    <a:pt x="68" y="145"/>
                    <a:pt x="91" y="132"/>
                  </a:cubicBezTo>
                  <a:cubicBezTo>
                    <a:pt x="124" y="113"/>
                    <a:pt x="142" y="78"/>
                    <a:pt x="116" y="65"/>
                  </a:cubicBezTo>
                  <a:cubicBezTo>
                    <a:pt x="91" y="53"/>
                    <a:pt x="64" y="65"/>
                    <a:pt x="40" y="89"/>
                  </a:cubicBezTo>
                  <a:cubicBezTo>
                    <a:pt x="5" y="126"/>
                    <a:pt x="0" y="175"/>
                    <a:pt x="28" y="187"/>
                  </a:cubicBezTo>
                  <a:cubicBezTo>
                    <a:pt x="59" y="201"/>
                    <a:pt x="99" y="179"/>
                    <a:pt x="122" y="154"/>
                  </a:cubicBezTo>
                  <a:cubicBezTo>
                    <a:pt x="121" y="156"/>
                    <a:pt x="121" y="159"/>
                    <a:pt x="121" y="161"/>
                  </a:cubicBezTo>
                  <a:cubicBezTo>
                    <a:pt x="121" y="168"/>
                    <a:pt x="122" y="179"/>
                    <a:pt x="129" y="183"/>
                  </a:cubicBezTo>
                  <a:cubicBezTo>
                    <a:pt x="152" y="199"/>
                    <a:pt x="185" y="168"/>
                    <a:pt x="198" y="150"/>
                  </a:cubicBezTo>
                  <a:cubicBezTo>
                    <a:pt x="200" y="148"/>
                    <a:pt x="191" y="148"/>
                    <a:pt x="189" y="150"/>
                  </a:cubicBezTo>
                  <a:cubicBezTo>
                    <a:pt x="180" y="156"/>
                    <a:pt x="164" y="173"/>
                    <a:pt x="158" y="168"/>
                  </a:cubicBezTo>
                  <a:cubicBezTo>
                    <a:pt x="151" y="161"/>
                    <a:pt x="181" y="102"/>
                    <a:pt x="202" y="68"/>
                  </a:cubicBezTo>
                  <a:cubicBezTo>
                    <a:pt x="216" y="67"/>
                    <a:pt x="233" y="68"/>
                    <a:pt x="242" y="68"/>
                  </a:cubicBezTo>
                  <a:moveTo>
                    <a:pt x="106" y="72"/>
                  </a:moveTo>
                  <a:cubicBezTo>
                    <a:pt x="113" y="74"/>
                    <a:pt x="98" y="102"/>
                    <a:pt x="89" y="111"/>
                  </a:cubicBezTo>
                  <a:cubicBezTo>
                    <a:pt x="71" y="129"/>
                    <a:pt x="50" y="125"/>
                    <a:pt x="50" y="125"/>
                  </a:cubicBezTo>
                  <a:cubicBezTo>
                    <a:pt x="58" y="99"/>
                    <a:pt x="96" y="70"/>
                    <a:pt x="106" y="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1" name="Freeform 22"/>
            <p:cNvSpPr>
              <a:spLocks noEditPoints="1"/>
            </p:cNvSpPr>
            <p:nvPr/>
          </p:nvSpPr>
          <p:spPr bwMode="auto">
            <a:xfrm>
              <a:off x="6613525" y="3644900"/>
              <a:ext cx="636587" cy="688975"/>
            </a:xfrm>
            <a:custGeom>
              <a:avLst/>
              <a:gdLst>
                <a:gd name="T0" fmla="*/ 142 w 170"/>
                <a:gd name="T1" fmla="*/ 22 h 184"/>
                <a:gd name="T2" fmla="*/ 130 w 170"/>
                <a:gd name="T3" fmla="*/ 4 h 184"/>
                <a:gd name="T4" fmla="*/ 44 w 170"/>
                <a:gd name="T5" fmla="*/ 42 h 184"/>
                <a:gd name="T6" fmla="*/ 28 w 170"/>
                <a:gd name="T7" fmla="*/ 120 h 184"/>
                <a:gd name="T8" fmla="*/ 100 w 170"/>
                <a:gd name="T9" fmla="*/ 88 h 184"/>
                <a:gd name="T10" fmla="*/ 78 w 170"/>
                <a:gd name="T11" fmla="*/ 133 h 184"/>
                <a:gd name="T12" fmla="*/ 40 w 170"/>
                <a:gd name="T13" fmla="*/ 166 h 184"/>
                <a:gd name="T14" fmla="*/ 12 w 170"/>
                <a:gd name="T15" fmla="*/ 142 h 184"/>
                <a:gd name="T16" fmla="*/ 0 w 170"/>
                <a:gd name="T17" fmla="*/ 153 h 184"/>
                <a:gd name="T18" fmla="*/ 45 w 170"/>
                <a:gd name="T19" fmla="*/ 180 h 184"/>
                <a:gd name="T20" fmla="*/ 134 w 170"/>
                <a:gd name="T21" fmla="*/ 84 h 184"/>
                <a:gd name="T22" fmla="*/ 167 w 170"/>
                <a:gd name="T23" fmla="*/ 23 h 184"/>
                <a:gd name="T24" fmla="*/ 144 w 170"/>
                <a:gd name="T25" fmla="*/ 19 h 184"/>
                <a:gd name="T26" fmla="*/ 142 w 170"/>
                <a:gd name="T27" fmla="*/ 22 h 184"/>
                <a:gd name="T28" fmla="*/ 123 w 170"/>
                <a:gd name="T29" fmla="*/ 40 h 184"/>
                <a:gd name="T30" fmla="*/ 58 w 170"/>
                <a:gd name="T31" fmla="*/ 92 h 184"/>
                <a:gd name="T32" fmla="*/ 78 w 170"/>
                <a:gd name="T33" fmla="*/ 40 h 184"/>
                <a:gd name="T34" fmla="*/ 123 w 170"/>
                <a:gd name="T35" fmla="*/ 4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84">
                  <a:moveTo>
                    <a:pt x="142" y="22"/>
                  </a:moveTo>
                  <a:cubicBezTo>
                    <a:pt x="142" y="22"/>
                    <a:pt x="141" y="9"/>
                    <a:pt x="130" y="4"/>
                  </a:cubicBezTo>
                  <a:cubicBezTo>
                    <a:pt x="119" y="0"/>
                    <a:pt x="76" y="3"/>
                    <a:pt x="44" y="42"/>
                  </a:cubicBezTo>
                  <a:cubicBezTo>
                    <a:pt x="18" y="75"/>
                    <a:pt x="13" y="104"/>
                    <a:pt x="28" y="120"/>
                  </a:cubicBezTo>
                  <a:cubicBezTo>
                    <a:pt x="39" y="131"/>
                    <a:pt x="69" y="128"/>
                    <a:pt x="100" y="88"/>
                  </a:cubicBezTo>
                  <a:cubicBezTo>
                    <a:pt x="99" y="90"/>
                    <a:pt x="81" y="127"/>
                    <a:pt x="78" y="133"/>
                  </a:cubicBezTo>
                  <a:cubicBezTo>
                    <a:pt x="67" y="152"/>
                    <a:pt x="49" y="165"/>
                    <a:pt x="40" y="166"/>
                  </a:cubicBezTo>
                  <a:cubicBezTo>
                    <a:pt x="17" y="170"/>
                    <a:pt x="13" y="151"/>
                    <a:pt x="12" y="142"/>
                  </a:cubicBezTo>
                  <a:cubicBezTo>
                    <a:pt x="12" y="141"/>
                    <a:pt x="0" y="142"/>
                    <a:pt x="0" y="153"/>
                  </a:cubicBezTo>
                  <a:cubicBezTo>
                    <a:pt x="0" y="168"/>
                    <a:pt x="17" y="184"/>
                    <a:pt x="45" y="180"/>
                  </a:cubicBezTo>
                  <a:cubicBezTo>
                    <a:pt x="94" y="173"/>
                    <a:pt x="112" y="134"/>
                    <a:pt x="134" y="84"/>
                  </a:cubicBezTo>
                  <a:cubicBezTo>
                    <a:pt x="137" y="77"/>
                    <a:pt x="153" y="42"/>
                    <a:pt x="167" y="23"/>
                  </a:cubicBezTo>
                  <a:cubicBezTo>
                    <a:pt x="170" y="20"/>
                    <a:pt x="148" y="15"/>
                    <a:pt x="144" y="19"/>
                  </a:cubicBezTo>
                  <a:lnTo>
                    <a:pt x="142" y="22"/>
                  </a:lnTo>
                  <a:close/>
                  <a:moveTo>
                    <a:pt x="123" y="40"/>
                  </a:moveTo>
                  <a:cubicBezTo>
                    <a:pt x="102" y="72"/>
                    <a:pt x="69" y="109"/>
                    <a:pt x="58" y="92"/>
                  </a:cubicBezTo>
                  <a:cubicBezTo>
                    <a:pt x="54" y="86"/>
                    <a:pt x="56" y="68"/>
                    <a:pt x="78" y="40"/>
                  </a:cubicBezTo>
                  <a:cubicBezTo>
                    <a:pt x="106" y="5"/>
                    <a:pt x="141" y="13"/>
                    <a:pt x="123" y="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2" name="Freeform 23"/>
            <p:cNvSpPr>
              <a:spLocks/>
            </p:cNvSpPr>
            <p:nvPr/>
          </p:nvSpPr>
          <p:spPr bwMode="auto">
            <a:xfrm>
              <a:off x="7723188" y="3400425"/>
              <a:ext cx="303212" cy="584200"/>
            </a:xfrm>
            <a:custGeom>
              <a:avLst/>
              <a:gdLst>
                <a:gd name="T0" fmla="*/ 79 w 81"/>
                <a:gd name="T1" fmla="*/ 18 h 156"/>
                <a:gd name="T2" fmla="*/ 51 w 81"/>
                <a:gd name="T3" fmla="*/ 0 h 156"/>
                <a:gd name="T4" fmla="*/ 6 w 81"/>
                <a:gd name="T5" fmla="*/ 116 h 156"/>
                <a:gd name="T6" fmla="*/ 9 w 81"/>
                <a:gd name="T7" fmla="*/ 152 h 156"/>
                <a:gd name="T8" fmla="*/ 18 w 81"/>
                <a:gd name="T9" fmla="*/ 145 h 156"/>
                <a:gd name="T10" fmla="*/ 75 w 81"/>
                <a:gd name="T11" fmla="*/ 39 h 156"/>
                <a:gd name="T12" fmla="*/ 79 w 81"/>
                <a:gd name="T13" fmla="*/ 1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56">
                  <a:moveTo>
                    <a:pt x="79" y="18"/>
                  </a:moveTo>
                  <a:cubicBezTo>
                    <a:pt x="74" y="11"/>
                    <a:pt x="57" y="2"/>
                    <a:pt x="51" y="0"/>
                  </a:cubicBezTo>
                  <a:cubicBezTo>
                    <a:pt x="39" y="31"/>
                    <a:pt x="20" y="71"/>
                    <a:pt x="6" y="116"/>
                  </a:cubicBezTo>
                  <a:cubicBezTo>
                    <a:pt x="3" y="129"/>
                    <a:pt x="0" y="145"/>
                    <a:pt x="9" y="152"/>
                  </a:cubicBezTo>
                  <a:cubicBezTo>
                    <a:pt x="14" y="156"/>
                    <a:pt x="16" y="150"/>
                    <a:pt x="18" y="145"/>
                  </a:cubicBezTo>
                  <a:cubicBezTo>
                    <a:pt x="37" y="104"/>
                    <a:pt x="73" y="43"/>
                    <a:pt x="75" y="39"/>
                  </a:cubicBezTo>
                  <a:cubicBezTo>
                    <a:pt x="81" y="29"/>
                    <a:pt x="81" y="21"/>
                    <a:pt x="79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3" name="Oval 24"/>
            <p:cNvSpPr>
              <a:spLocks noChangeArrowheads="1"/>
            </p:cNvSpPr>
            <p:nvPr/>
          </p:nvSpPr>
          <p:spPr bwMode="auto">
            <a:xfrm>
              <a:off x="7640638" y="4014788"/>
              <a:ext cx="134937" cy="1317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4" name="Freeform 25"/>
            <p:cNvSpPr>
              <a:spLocks/>
            </p:cNvSpPr>
            <p:nvPr/>
          </p:nvSpPr>
          <p:spPr bwMode="auto">
            <a:xfrm>
              <a:off x="6122988" y="3414713"/>
              <a:ext cx="160337" cy="188913"/>
            </a:xfrm>
            <a:custGeom>
              <a:avLst/>
              <a:gdLst>
                <a:gd name="T0" fmla="*/ 8 w 43"/>
                <a:gd name="T1" fmla="*/ 50 h 50"/>
                <a:gd name="T2" fmla="*/ 43 w 43"/>
                <a:gd name="T3" fmla="*/ 20 h 50"/>
                <a:gd name="T4" fmla="*/ 31 w 43"/>
                <a:gd name="T5" fmla="*/ 4 h 50"/>
                <a:gd name="T6" fmla="*/ 20 w 43"/>
                <a:gd name="T7" fmla="*/ 35 h 50"/>
                <a:gd name="T8" fmla="*/ 3 w 43"/>
                <a:gd name="T9" fmla="*/ 46 h 50"/>
                <a:gd name="T10" fmla="*/ 8 w 43"/>
                <a:gd name="T1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50">
                  <a:moveTo>
                    <a:pt x="8" y="50"/>
                  </a:moveTo>
                  <a:cubicBezTo>
                    <a:pt x="25" y="50"/>
                    <a:pt x="40" y="41"/>
                    <a:pt x="43" y="20"/>
                  </a:cubicBezTo>
                  <a:cubicBezTo>
                    <a:pt x="43" y="18"/>
                    <a:pt x="43" y="6"/>
                    <a:pt x="31" y="4"/>
                  </a:cubicBezTo>
                  <a:cubicBezTo>
                    <a:pt x="7" y="0"/>
                    <a:pt x="2" y="30"/>
                    <a:pt x="20" y="35"/>
                  </a:cubicBezTo>
                  <a:cubicBezTo>
                    <a:pt x="17" y="42"/>
                    <a:pt x="10" y="44"/>
                    <a:pt x="3" y="46"/>
                  </a:cubicBezTo>
                  <a:cubicBezTo>
                    <a:pt x="0" y="47"/>
                    <a:pt x="5" y="50"/>
                    <a:pt x="8" y="5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5" name="Freeform 26"/>
            <p:cNvSpPr>
              <a:spLocks noEditPoints="1"/>
            </p:cNvSpPr>
            <p:nvPr/>
          </p:nvSpPr>
          <p:spPr bwMode="auto">
            <a:xfrm>
              <a:off x="7018338" y="3562350"/>
              <a:ext cx="787400" cy="647700"/>
            </a:xfrm>
            <a:custGeom>
              <a:avLst/>
              <a:gdLst>
                <a:gd name="T0" fmla="*/ 158 w 210"/>
                <a:gd name="T1" fmla="*/ 37 h 173"/>
                <a:gd name="T2" fmla="*/ 71 w 210"/>
                <a:gd name="T3" fmla="*/ 154 h 173"/>
                <a:gd name="T4" fmla="*/ 158 w 210"/>
                <a:gd name="T5" fmla="*/ 37 h 173"/>
                <a:gd name="T6" fmla="*/ 132 w 210"/>
                <a:gd name="T7" fmla="*/ 102 h 173"/>
                <a:gd name="T8" fmla="*/ 120 w 210"/>
                <a:gd name="T9" fmla="*/ 119 h 173"/>
                <a:gd name="T10" fmla="*/ 106 w 210"/>
                <a:gd name="T11" fmla="*/ 132 h 173"/>
                <a:gd name="T12" fmla="*/ 84 w 210"/>
                <a:gd name="T13" fmla="*/ 141 h 173"/>
                <a:gd name="T14" fmla="*/ 90 w 210"/>
                <a:gd name="T15" fmla="*/ 81 h 173"/>
                <a:gd name="T16" fmla="*/ 143 w 210"/>
                <a:gd name="T17" fmla="*/ 41 h 173"/>
                <a:gd name="T18" fmla="*/ 132 w 210"/>
                <a:gd name="T19" fmla="*/ 10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0" h="173">
                  <a:moveTo>
                    <a:pt x="158" y="37"/>
                  </a:moveTo>
                  <a:cubicBezTo>
                    <a:pt x="74" y="0"/>
                    <a:pt x="0" y="135"/>
                    <a:pt x="71" y="154"/>
                  </a:cubicBezTo>
                  <a:cubicBezTo>
                    <a:pt x="138" y="173"/>
                    <a:pt x="210" y="60"/>
                    <a:pt x="158" y="37"/>
                  </a:cubicBezTo>
                  <a:moveTo>
                    <a:pt x="132" y="102"/>
                  </a:moveTo>
                  <a:cubicBezTo>
                    <a:pt x="129" y="107"/>
                    <a:pt x="125" y="113"/>
                    <a:pt x="120" y="119"/>
                  </a:cubicBezTo>
                  <a:cubicBezTo>
                    <a:pt x="114" y="124"/>
                    <a:pt x="110" y="129"/>
                    <a:pt x="106" y="132"/>
                  </a:cubicBezTo>
                  <a:cubicBezTo>
                    <a:pt x="98" y="137"/>
                    <a:pt x="91" y="141"/>
                    <a:pt x="84" y="141"/>
                  </a:cubicBezTo>
                  <a:cubicBezTo>
                    <a:pt x="67" y="140"/>
                    <a:pt x="70" y="108"/>
                    <a:pt x="90" y="81"/>
                  </a:cubicBezTo>
                  <a:cubicBezTo>
                    <a:pt x="105" y="59"/>
                    <a:pt x="127" y="34"/>
                    <a:pt x="143" y="41"/>
                  </a:cubicBezTo>
                  <a:cubicBezTo>
                    <a:pt x="155" y="47"/>
                    <a:pt x="148" y="74"/>
                    <a:pt x="132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702157" y="1181100"/>
            <a:ext cx="727473" cy="996950"/>
            <a:chOff x="4936" y="176"/>
            <a:chExt cx="423" cy="628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dirty="0">
                <a:solidFill>
                  <a:srgbClr val="6C6F7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dirty="0">
                <a:solidFill>
                  <a:srgbClr val="6C6F7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dirty="0">
                <a:solidFill>
                  <a:srgbClr val="6C6F7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dirty="0">
                <a:solidFill>
                  <a:srgbClr val="6C6F70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368513" y="1181100"/>
            <a:ext cx="1061114" cy="730250"/>
            <a:chOff x="4750" y="176"/>
            <a:chExt cx="617" cy="46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Calibri" pitchFamily="34" charset="0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Calibri" pitchFamily="34" charset="0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Calibri" pitchFamily="34" charset="0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</p:grpSp>
      <p:grpSp>
        <p:nvGrpSpPr>
          <p:cNvPr id="42" name="McKSticker" hidden="1"/>
          <p:cNvGrpSpPr>
            <a:grpSpLocks/>
          </p:cNvGrpSpPr>
          <p:nvPr/>
        </p:nvGrpSpPr>
        <p:grpSpPr bwMode="auto">
          <a:xfrm>
            <a:off x="8577109" y="1181100"/>
            <a:ext cx="886909" cy="212366"/>
            <a:chOff x="7921298" y="285750"/>
            <a:chExt cx="819477" cy="213241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921298" y="285750"/>
              <a:ext cx="819477" cy="21324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r"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808080"/>
                  </a:solidFill>
                  <a:latin typeface="Calibri" pitchFamily="34" charset="0"/>
                  <a:cs typeface="Calibri" pitchFamily="34" charset="0"/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</p:cNvCxnSpPr>
            <p:nvPr/>
          </p:nvCxnSpPr>
          <p:spPr bwMode="auto">
            <a:xfrm>
              <a:off x="792416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</p:cNvCxnSpPr>
            <p:nvPr/>
          </p:nvCxnSpPr>
          <p:spPr bwMode="auto">
            <a:xfrm>
              <a:off x="7924161" y="498116"/>
              <a:ext cx="81661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>
            <a:grpSpLocks/>
          </p:cNvGrpSpPr>
          <p:nvPr/>
        </p:nvGrpSpPr>
        <p:grpSpPr bwMode="auto">
          <a:xfrm>
            <a:off x="8631640" y="1181103"/>
            <a:ext cx="799370" cy="1306513"/>
            <a:chOff x="6655594" y="273840"/>
            <a:chExt cx="737587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6976142" y="286540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6976142" y="561179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6976142" y="835816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6976142" y="1107280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6976142" y="1383506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</p:grpSp>
      <p:sp>
        <p:nvSpPr>
          <p:cNvPr id="67" name="Slide Number"/>
          <p:cNvSpPr txBox="1">
            <a:spLocks/>
          </p:cNvSpPr>
          <p:nvPr userDrawn="1"/>
        </p:nvSpPr>
        <p:spPr bwMode="auto">
          <a:xfrm>
            <a:off x="9614775" y="6581825"/>
            <a:ext cx="15078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4EB031F6-BA69-4566-A22C-86B669AD504B}" type="slidenum">
              <a:rPr lang="en-US" smtClean="0">
                <a:solidFill>
                  <a:srgbClr val="6C6F70"/>
                </a:solidFill>
                <a:cs typeface="+mn-cs"/>
              </a:rPr>
              <a:pPr algn="ctr">
                <a:defRPr/>
              </a:pPr>
              <a:t>‹#›</a:t>
            </a:fld>
            <a:endParaRPr lang="en-US" dirty="0">
              <a:solidFill>
                <a:srgbClr val="6C6F70"/>
              </a:solidFill>
              <a:cs typeface="+mn-cs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27288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3"/>
          <a:ext cx="175419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565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292"/>
                      <p:cNvPicPr>
                        <a:picLocks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3"/>
                        <a:ext cx="175419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/>
          <p:cNvSpPr>
            <a:spLocks noChangeArrowheads="1"/>
          </p:cNvSpPr>
          <p:nvPr/>
        </p:nvSpPr>
        <p:spPr bwMode="auto">
          <a:xfrm>
            <a:off x="8739981" y="36513"/>
            <a:ext cx="724033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912813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912813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912813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912813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9001462" y="2562892"/>
            <a:ext cx="165429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dirty="0" smtClean="0">
                <a:solidFill>
                  <a:srgbClr val="6C6F70"/>
                </a:solidFill>
                <a:latin typeface="Calibri"/>
                <a:cs typeface="+mn-cs"/>
              </a:rPr>
              <a:t>Last Modified 05/12/2013 06:36 GMT Standard Time</a:t>
            </a:r>
            <a:endParaRPr lang="en-US" dirty="0" smtClean="0">
              <a:solidFill>
                <a:srgbClr val="6C6F70"/>
              </a:solidFill>
              <a:latin typeface="Calibri"/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9037866" y="4780629"/>
            <a:ext cx="15814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6C6F70"/>
                </a:solidFill>
                <a:latin typeface="Calibri"/>
                <a:cs typeface="+mn-cs"/>
              </a:rPr>
              <a:t>Printed 10/28/2013 11:12 AM GMT Standard Time</a:t>
            </a:r>
            <a:endParaRPr lang="en-US" dirty="0" smtClean="0">
              <a:solidFill>
                <a:srgbClr val="6C6F70"/>
              </a:solidFill>
              <a:latin typeface="Calibri"/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441989" y="26988"/>
            <a:ext cx="66300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808080"/>
                </a:solidFill>
                <a:latin typeface="Calibri" pitchFamily="34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441989" y="1117603"/>
            <a:ext cx="9022027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Calibri"/>
                <a:cs typeface="+mn-cs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441989" y="6026150"/>
            <a:ext cx="9022027" cy="381000"/>
            <a:chOff x="75" y="3915"/>
            <a:chExt cx="5385" cy="23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15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5250" indent="-95250">
                <a:defRPr/>
              </a:pPr>
              <a:r>
                <a:rPr lang="en-US" sz="1000" dirty="0" smtClean="0">
                  <a:solidFill>
                    <a:srgbClr val="6C6F70"/>
                  </a:solidFill>
                  <a:latin typeface="Calibri"/>
                  <a:cs typeface="+mn-cs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379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485775" indent="-485775" defTabSz="91281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91281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91281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91281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91281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sz="1000" dirty="0">
                  <a:solidFill>
                    <a:srgbClr val="6C6F70"/>
                  </a:solidFill>
                  <a:latin typeface="Calibri" pitchFamily="34" charset="0"/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25158" y="2032003"/>
            <a:ext cx="4713950" cy="519113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b="1" dirty="0">
                  <a:solidFill>
                    <a:srgbClr val="6C6F70"/>
                  </a:solidFill>
                  <a:latin typeface="Calibri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US" dirty="0">
                  <a:solidFill>
                    <a:srgbClr val="808080"/>
                  </a:solidFill>
                  <a:latin typeface="Calibri" pitchFamily="34" charset="0"/>
                </a:rPr>
                <a:t>Unit of measure</a:t>
              </a:r>
            </a:p>
          </p:txBody>
        </p:sp>
      </p:grpSp>
      <p:sp>
        <p:nvSpPr>
          <p:cNvPr id="15" name="Line 8"/>
          <p:cNvSpPr>
            <a:spLocks noChangeShapeType="1"/>
          </p:cNvSpPr>
          <p:nvPr/>
        </p:nvSpPr>
        <p:spPr bwMode="auto">
          <a:xfrm>
            <a:off x="441989" y="1109663"/>
            <a:ext cx="9022027" cy="0"/>
          </a:xfrm>
          <a:prstGeom prst="line">
            <a:avLst/>
          </a:prstGeom>
          <a:noFill/>
          <a:ln w="19050">
            <a:solidFill>
              <a:srgbClr val="F8AC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dirty="0"/>
          </a:p>
        </p:txBody>
      </p:sp>
      <p:pic>
        <p:nvPicPr>
          <p:cNvPr id="16" name="Picture 3" descr="F:\00_eldorado\Thomas Cook\07 TCLC 09.2013\00 brand design\logos\00 Group\ThomasCook_hori_office.png"/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99509" y="6494466"/>
            <a:ext cx="1755907" cy="22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7" name="Gruppieren 10"/>
          <p:cNvGrpSpPr>
            <a:grpSpLocks noChangeAspect="1"/>
          </p:cNvGrpSpPr>
          <p:nvPr/>
        </p:nvGrpSpPr>
        <p:grpSpPr bwMode="auto">
          <a:xfrm>
            <a:off x="440944" y="6505360"/>
            <a:ext cx="975000" cy="256646"/>
            <a:chOff x="4741863" y="3397250"/>
            <a:chExt cx="3284537" cy="936625"/>
          </a:xfrm>
          <a:solidFill>
            <a:srgbClr val="6C6F70"/>
          </a:solidFill>
        </p:grpSpPr>
        <p:sp>
          <p:nvSpPr>
            <p:cNvPr id="18" name="Freeform 19"/>
            <p:cNvSpPr>
              <a:spLocks/>
            </p:cNvSpPr>
            <p:nvPr/>
          </p:nvSpPr>
          <p:spPr bwMode="auto">
            <a:xfrm>
              <a:off x="6073775" y="3670300"/>
              <a:ext cx="457200" cy="490538"/>
            </a:xfrm>
            <a:custGeom>
              <a:avLst/>
              <a:gdLst>
                <a:gd name="T0" fmla="*/ 92 w 122"/>
                <a:gd name="T1" fmla="*/ 0 h 131"/>
                <a:gd name="T2" fmla="*/ 35 w 122"/>
                <a:gd name="T3" fmla="*/ 28 h 131"/>
                <a:gd name="T4" fmla="*/ 25 w 122"/>
                <a:gd name="T5" fmla="*/ 43 h 131"/>
                <a:gd name="T6" fmla="*/ 45 w 122"/>
                <a:gd name="T7" fmla="*/ 86 h 131"/>
                <a:gd name="T8" fmla="*/ 60 w 122"/>
                <a:gd name="T9" fmla="*/ 99 h 131"/>
                <a:gd name="T10" fmla="*/ 60 w 122"/>
                <a:gd name="T11" fmla="*/ 109 h 131"/>
                <a:gd name="T12" fmla="*/ 17 w 122"/>
                <a:gd name="T13" fmla="*/ 111 h 131"/>
                <a:gd name="T14" fmla="*/ 2 w 122"/>
                <a:gd name="T15" fmla="*/ 101 h 131"/>
                <a:gd name="T16" fmla="*/ 1 w 122"/>
                <a:gd name="T17" fmla="*/ 103 h 131"/>
                <a:gd name="T18" fmla="*/ 2 w 122"/>
                <a:gd name="T19" fmla="*/ 109 h 131"/>
                <a:gd name="T20" fmla="*/ 12 w 122"/>
                <a:gd name="T21" fmla="*/ 119 h 131"/>
                <a:gd name="T22" fmla="*/ 64 w 122"/>
                <a:gd name="T23" fmla="*/ 129 h 131"/>
                <a:gd name="T24" fmla="*/ 80 w 122"/>
                <a:gd name="T25" fmla="*/ 84 h 131"/>
                <a:gd name="T26" fmla="*/ 62 w 122"/>
                <a:gd name="T27" fmla="*/ 46 h 131"/>
                <a:gd name="T28" fmla="*/ 72 w 122"/>
                <a:gd name="T29" fmla="*/ 31 h 131"/>
                <a:gd name="T30" fmla="*/ 110 w 122"/>
                <a:gd name="T31" fmla="*/ 26 h 131"/>
                <a:gd name="T32" fmla="*/ 112 w 122"/>
                <a:gd name="T33" fmla="*/ 34 h 131"/>
                <a:gd name="T34" fmla="*/ 121 w 122"/>
                <a:gd name="T35" fmla="*/ 36 h 131"/>
                <a:gd name="T36" fmla="*/ 121 w 122"/>
                <a:gd name="T37" fmla="*/ 21 h 131"/>
                <a:gd name="T38" fmla="*/ 92 w 122"/>
                <a:gd name="T39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2" h="131">
                  <a:moveTo>
                    <a:pt x="92" y="0"/>
                  </a:moveTo>
                  <a:cubicBezTo>
                    <a:pt x="71" y="0"/>
                    <a:pt x="49" y="12"/>
                    <a:pt x="35" y="28"/>
                  </a:cubicBezTo>
                  <a:cubicBezTo>
                    <a:pt x="31" y="32"/>
                    <a:pt x="27" y="38"/>
                    <a:pt x="25" y="43"/>
                  </a:cubicBezTo>
                  <a:cubicBezTo>
                    <a:pt x="17" y="61"/>
                    <a:pt x="31" y="78"/>
                    <a:pt x="45" y="86"/>
                  </a:cubicBezTo>
                  <a:cubicBezTo>
                    <a:pt x="51" y="89"/>
                    <a:pt x="57" y="93"/>
                    <a:pt x="60" y="99"/>
                  </a:cubicBezTo>
                  <a:cubicBezTo>
                    <a:pt x="61" y="102"/>
                    <a:pt x="61" y="106"/>
                    <a:pt x="60" y="109"/>
                  </a:cubicBezTo>
                  <a:cubicBezTo>
                    <a:pt x="52" y="119"/>
                    <a:pt x="24" y="114"/>
                    <a:pt x="17" y="111"/>
                  </a:cubicBezTo>
                  <a:cubicBezTo>
                    <a:pt x="11" y="108"/>
                    <a:pt x="7" y="104"/>
                    <a:pt x="2" y="101"/>
                  </a:cubicBezTo>
                  <a:cubicBezTo>
                    <a:pt x="2" y="101"/>
                    <a:pt x="1" y="101"/>
                    <a:pt x="1" y="103"/>
                  </a:cubicBezTo>
                  <a:cubicBezTo>
                    <a:pt x="0" y="105"/>
                    <a:pt x="0" y="107"/>
                    <a:pt x="2" y="109"/>
                  </a:cubicBezTo>
                  <a:cubicBezTo>
                    <a:pt x="4" y="113"/>
                    <a:pt x="8" y="116"/>
                    <a:pt x="12" y="119"/>
                  </a:cubicBezTo>
                  <a:cubicBezTo>
                    <a:pt x="27" y="128"/>
                    <a:pt x="46" y="131"/>
                    <a:pt x="64" y="129"/>
                  </a:cubicBezTo>
                  <a:cubicBezTo>
                    <a:pt x="93" y="125"/>
                    <a:pt x="97" y="100"/>
                    <a:pt x="80" y="84"/>
                  </a:cubicBezTo>
                  <a:cubicBezTo>
                    <a:pt x="67" y="73"/>
                    <a:pt x="55" y="65"/>
                    <a:pt x="62" y="46"/>
                  </a:cubicBezTo>
                  <a:cubicBezTo>
                    <a:pt x="64" y="40"/>
                    <a:pt x="68" y="35"/>
                    <a:pt x="72" y="31"/>
                  </a:cubicBezTo>
                  <a:cubicBezTo>
                    <a:pt x="80" y="23"/>
                    <a:pt x="107" y="7"/>
                    <a:pt x="110" y="26"/>
                  </a:cubicBezTo>
                  <a:cubicBezTo>
                    <a:pt x="110" y="30"/>
                    <a:pt x="110" y="31"/>
                    <a:pt x="112" y="34"/>
                  </a:cubicBezTo>
                  <a:cubicBezTo>
                    <a:pt x="113" y="36"/>
                    <a:pt x="118" y="39"/>
                    <a:pt x="121" y="36"/>
                  </a:cubicBezTo>
                  <a:cubicBezTo>
                    <a:pt x="121" y="36"/>
                    <a:pt x="122" y="25"/>
                    <a:pt x="121" y="21"/>
                  </a:cubicBezTo>
                  <a:cubicBezTo>
                    <a:pt x="118" y="10"/>
                    <a:pt x="97" y="0"/>
                    <a:pt x="9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9" name="Freeform 20"/>
            <p:cNvSpPr>
              <a:spLocks/>
            </p:cNvSpPr>
            <p:nvPr/>
          </p:nvSpPr>
          <p:spPr bwMode="auto">
            <a:xfrm>
              <a:off x="4741863" y="3397250"/>
              <a:ext cx="522287" cy="793750"/>
            </a:xfrm>
            <a:custGeom>
              <a:avLst/>
              <a:gdLst>
                <a:gd name="T0" fmla="*/ 122 w 139"/>
                <a:gd name="T1" fmla="*/ 186 h 212"/>
                <a:gd name="T2" fmla="*/ 41 w 139"/>
                <a:gd name="T3" fmla="*/ 190 h 212"/>
                <a:gd name="T4" fmla="*/ 115 w 139"/>
                <a:gd name="T5" fmla="*/ 58 h 212"/>
                <a:gd name="T6" fmla="*/ 132 w 139"/>
                <a:gd name="T7" fmla="*/ 25 h 212"/>
                <a:gd name="T8" fmla="*/ 131 w 139"/>
                <a:gd name="T9" fmla="*/ 17 h 212"/>
                <a:gd name="T10" fmla="*/ 118 w 139"/>
                <a:gd name="T11" fmla="*/ 0 h 212"/>
                <a:gd name="T12" fmla="*/ 114 w 139"/>
                <a:gd name="T13" fmla="*/ 1 h 212"/>
                <a:gd name="T14" fmla="*/ 101 w 139"/>
                <a:gd name="T15" fmla="*/ 18 h 212"/>
                <a:gd name="T16" fmla="*/ 50 w 139"/>
                <a:gd name="T17" fmla="*/ 92 h 212"/>
                <a:gd name="T18" fmla="*/ 29 w 139"/>
                <a:gd name="T19" fmla="*/ 128 h 212"/>
                <a:gd name="T20" fmla="*/ 6 w 139"/>
                <a:gd name="T21" fmla="*/ 172 h 212"/>
                <a:gd name="T22" fmla="*/ 23 w 139"/>
                <a:gd name="T23" fmla="*/ 208 h 212"/>
                <a:gd name="T24" fmla="*/ 31 w 139"/>
                <a:gd name="T25" fmla="*/ 212 h 212"/>
                <a:gd name="T26" fmla="*/ 136 w 139"/>
                <a:gd name="T27" fmla="*/ 198 h 212"/>
                <a:gd name="T28" fmla="*/ 122 w 139"/>
                <a:gd name="T29" fmla="*/ 186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9" h="212">
                  <a:moveTo>
                    <a:pt x="122" y="186"/>
                  </a:moveTo>
                  <a:cubicBezTo>
                    <a:pt x="97" y="180"/>
                    <a:pt x="64" y="188"/>
                    <a:pt x="41" y="190"/>
                  </a:cubicBezTo>
                  <a:cubicBezTo>
                    <a:pt x="61" y="154"/>
                    <a:pt x="96" y="91"/>
                    <a:pt x="115" y="58"/>
                  </a:cubicBezTo>
                  <a:cubicBezTo>
                    <a:pt x="120" y="49"/>
                    <a:pt x="128" y="34"/>
                    <a:pt x="132" y="25"/>
                  </a:cubicBezTo>
                  <a:cubicBezTo>
                    <a:pt x="132" y="25"/>
                    <a:pt x="134" y="22"/>
                    <a:pt x="131" y="17"/>
                  </a:cubicBezTo>
                  <a:cubicBezTo>
                    <a:pt x="130" y="12"/>
                    <a:pt x="119" y="2"/>
                    <a:pt x="118" y="0"/>
                  </a:cubicBezTo>
                  <a:cubicBezTo>
                    <a:pt x="117" y="0"/>
                    <a:pt x="115" y="0"/>
                    <a:pt x="114" y="1"/>
                  </a:cubicBezTo>
                  <a:cubicBezTo>
                    <a:pt x="110" y="6"/>
                    <a:pt x="102" y="15"/>
                    <a:pt x="101" y="18"/>
                  </a:cubicBezTo>
                  <a:cubicBezTo>
                    <a:pt x="97" y="22"/>
                    <a:pt x="59" y="78"/>
                    <a:pt x="50" y="92"/>
                  </a:cubicBezTo>
                  <a:cubicBezTo>
                    <a:pt x="47" y="98"/>
                    <a:pt x="32" y="121"/>
                    <a:pt x="29" y="128"/>
                  </a:cubicBezTo>
                  <a:cubicBezTo>
                    <a:pt x="19" y="146"/>
                    <a:pt x="12" y="159"/>
                    <a:pt x="6" y="172"/>
                  </a:cubicBezTo>
                  <a:cubicBezTo>
                    <a:pt x="0" y="192"/>
                    <a:pt x="16" y="203"/>
                    <a:pt x="23" y="208"/>
                  </a:cubicBezTo>
                  <a:cubicBezTo>
                    <a:pt x="23" y="208"/>
                    <a:pt x="28" y="212"/>
                    <a:pt x="31" y="212"/>
                  </a:cubicBezTo>
                  <a:cubicBezTo>
                    <a:pt x="45" y="212"/>
                    <a:pt x="106" y="198"/>
                    <a:pt x="136" y="198"/>
                  </a:cubicBezTo>
                  <a:cubicBezTo>
                    <a:pt x="139" y="197"/>
                    <a:pt x="130" y="191"/>
                    <a:pt x="122" y="18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0" name="Freeform 21"/>
            <p:cNvSpPr>
              <a:spLocks noEditPoints="1"/>
            </p:cNvSpPr>
            <p:nvPr/>
          </p:nvSpPr>
          <p:spPr bwMode="auto">
            <a:xfrm>
              <a:off x="5222875" y="3449638"/>
              <a:ext cx="917575" cy="752475"/>
            </a:xfrm>
            <a:custGeom>
              <a:avLst/>
              <a:gdLst>
                <a:gd name="T0" fmla="*/ 242 w 245"/>
                <a:gd name="T1" fmla="*/ 68 h 201"/>
                <a:gd name="T2" fmla="*/ 243 w 245"/>
                <a:gd name="T3" fmla="*/ 64 h 201"/>
                <a:gd name="T4" fmla="*/ 209 w 245"/>
                <a:gd name="T5" fmla="*/ 58 h 201"/>
                <a:gd name="T6" fmla="*/ 223 w 245"/>
                <a:gd name="T7" fmla="*/ 35 h 201"/>
                <a:gd name="T8" fmla="*/ 224 w 245"/>
                <a:gd name="T9" fmla="*/ 21 h 201"/>
                <a:gd name="T10" fmla="*/ 207 w 245"/>
                <a:gd name="T11" fmla="*/ 1 h 201"/>
                <a:gd name="T12" fmla="*/ 203 w 245"/>
                <a:gd name="T13" fmla="*/ 2 h 201"/>
                <a:gd name="T14" fmla="*/ 202 w 245"/>
                <a:gd name="T15" fmla="*/ 8 h 201"/>
                <a:gd name="T16" fmla="*/ 172 w 245"/>
                <a:gd name="T17" fmla="*/ 58 h 201"/>
                <a:gd name="T18" fmla="*/ 142 w 245"/>
                <a:gd name="T19" fmla="*/ 58 h 201"/>
                <a:gd name="T20" fmla="*/ 139 w 245"/>
                <a:gd name="T21" fmla="*/ 61 h 201"/>
                <a:gd name="T22" fmla="*/ 145 w 245"/>
                <a:gd name="T23" fmla="*/ 68 h 201"/>
                <a:gd name="T24" fmla="*/ 166 w 245"/>
                <a:gd name="T25" fmla="*/ 68 h 201"/>
                <a:gd name="T26" fmla="*/ 134 w 245"/>
                <a:gd name="T27" fmla="*/ 124 h 201"/>
                <a:gd name="T28" fmla="*/ 126 w 245"/>
                <a:gd name="T29" fmla="*/ 137 h 201"/>
                <a:gd name="T30" fmla="*/ 52 w 245"/>
                <a:gd name="T31" fmla="*/ 166 h 201"/>
                <a:gd name="T32" fmla="*/ 48 w 245"/>
                <a:gd name="T33" fmla="*/ 134 h 201"/>
                <a:gd name="T34" fmla="*/ 91 w 245"/>
                <a:gd name="T35" fmla="*/ 132 h 201"/>
                <a:gd name="T36" fmla="*/ 116 w 245"/>
                <a:gd name="T37" fmla="*/ 65 h 201"/>
                <a:gd name="T38" fmla="*/ 40 w 245"/>
                <a:gd name="T39" fmla="*/ 89 h 201"/>
                <a:gd name="T40" fmla="*/ 28 w 245"/>
                <a:gd name="T41" fmla="*/ 187 h 201"/>
                <a:gd name="T42" fmla="*/ 122 w 245"/>
                <a:gd name="T43" fmla="*/ 154 h 201"/>
                <a:gd name="T44" fmla="*/ 121 w 245"/>
                <a:gd name="T45" fmla="*/ 161 h 201"/>
                <a:gd name="T46" fmla="*/ 129 w 245"/>
                <a:gd name="T47" fmla="*/ 183 h 201"/>
                <a:gd name="T48" fmla="*/ 198 w 245"/>
                <a:gd name="T49" fmla="*/ 150 h 201"/>
                <a:gd name="T50" fmla="*/ 189 w 245"/>
                <a:gd name="T51" fmla="*/ 150 h 201"/>
                <a:gd name="T52" fmla="*/ 158 w 245"/>
                <a:gd name="T53" fmla="*/ 168 h 201"/>
                <a:gd name="T54" fmla="*/ 202 w 245"/>
                <a:gd name="T55" fmla="*/ 68 h 201"/>
                <a:gd name="T56" fmla="*/ 242 w 245"/>
                <a:gd name="T57" fmla="*/ 68 h 201"/>
                <a:gd name="T58" fmla="*/ 106 w 245"/>
                <a:gd name="T59" fmla="*/ 72 h 201"/>
                <a:gd name="T60" fmla="*/ 89 w 245"/>
                <a:gd name="T61" fmla="*/ 111 h 201"/>
                <a:gd name="T62" fmla="*/ 50 w 245"/>
                <a:gd name="T63" fmla="*/ 125 h 201"/>
                <a:gd name="T64" fmla="*/ 106 w 245"/>
                <a:gd name="T65" fmla="*/ 72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5" h="201">
                  <a:moveTo>
                    <a:pt x="242" y="68"/>
                  </a:moveTo>
                  <a:cubicBezTo>
                    <a:pt x="243" y="68"/>
                    <a:pt x="245" y="66"/>
                    <a:pt x="243" y="64"/>
                  </a:cubicBezTo>
                  <a:cubicBezTo>
                    <a:pt x="239" y="59"/>
                    <a:pt x="225" y="58"/>
                    <a:pt x="209" y="58"/>
                  </a:cubicBezTo>
                  <a:cubicBezTo>
                    <a:pt x="212" y="52"/>
                    <a:pt x="221" y="39"/>
                    <a:pt x="223" y="35"/>
                  </a:cubicBezTo>
                  <a:cubicBezTo>
                    <a:pt x="226" y="28"/>
                    <a:pt x="226" y="24"/>
                    <a:pt x="224" y="21"/>
                  </a:cubicBezTo>
                  <a:cubicBezTo>
                    <a:pt x="220" y="16"/>
                    <a:pt x="208" y="3"/>
                    <a:pt x="207" y="1"/>
                  </a:cubicBezTo>
                  <a:cubicBezTo>
                    <a:pt x="205" y="0"/>
                    <a:pt x="203" y="0"/>
                    <a:pt x="203" y="2"/>
                  </a:cubicBezTo>
                  <a:cubicBezTo>
                    <a:pt x="203" y="5"/>
                    <a:pt x="203" y="6"/>
                    <a:pt x="202" y="8"/>
                  </a:cubicBezTo>
                  <a:cubicBezTo>
                    <a:pt x="200" y="13"/>
                    <a:pt x="172" y="58"/>
                    <a:pt x="172" y="58"/>
                  </a:cubicBezTo>
                  <a:cubicBezTo>
                    <a:pt x="142" y="58"/>
                    <a:pt x="142" y="58"/>
                    <a:pt x="142" y="58"/>
                  </a:cubicBezTo>
                  <a:cubicBezTo>
                    <a:pt x="142" y="58"/>
                    <a:pt x="138" y="58"/>
                    <a:pt x="139" y="61"/>
                  </a:cubicBezTo>
                  <a:cubicBezTo>
                    <a:pt x="140" y="64"/>
                    <a:pt x="145" y="68"/>
                    <a:pt x="145" y="68"/>
                  </a:cubicBezTo>
                  <a:cubicBezTo>
                    <a:pt x="154" y="68"/>
                    <a:pt x="166" y="68"/>
                    <a:pt x="166" y="68"/>
                  </a:cubicBezTo>
                  <a:cubicBezTo>
                    <a:pt x="166" y="68"/>
                    <a:pt x="145" y="106"/>
                    <a:pt x="134" y="124"/>
                  </a:cubicBezTo>
                  <a:cubicBezTo>
                    <a:pt x="132" y="128"/>
                    <a:pt x="130" y="133"/>
                    <a:pt x="126" y="137"/>
                  </a:cubicBezTo>
                  <a:cubicBezTo>
                    <a:pt x="117" y="147"/>
                    <a:pt x="82" y="182"/>
                    <a:pt x="52" y="166"/>
                  </a:cubicBezTo>
                  <a:cubicBezTo>
                    <a:pt x="43" y="161"/>
                    <a:pt x="44" y="145"/>
                    <a:pt x="48" y="134"/>
                  </a:cubicBezTo>
                  <a:cubicBezTo>
                    <a:pt x="48" y="134"/>
                    <a:pt x="68" y="145"/>
                    <a:pt x="91" y="132"/>
                  </a:cubicBezTo>
                  <a:cubicBezTo>
                    <a:pt x="124" y="113"/>
                    <a:pt x="142" y="78"/>
                    <a:pt x="116" y="65"/>
                  </a:cubicBezTo>
                  <a:cubicBezTo>
                    <a:pt x="91" y="53"/>
                    <a:pt x="64" y="65"/>
                    <a:pt x="40" y="89"/>
                  </a:cubicBezTo>
                  <a:cubicBezTo>
                    <a:pt x="5" y="126"/>
                    <a:pt x="0" y="175"/>
                    <a:pt x="28" y="187"/>
                  </a:cubicBezTo>
                  <a:cubicBezTo>
                    <a:pt x="59" y="201"/>
                    <a:pt x="99" y="179"/>
                    <a:pt x="122" y="154"/>
                  </a:cubicBezTo>
                  <a:cubicBezTo>
                    <a:pt x="121" y="156"/>
                    <a:pt x="121" y="159"/>
                    <a:pt x="121" y="161"/>
                  </a:cubicBezTo>
                  <a:cubicBezTo>
                    <a:pt x="121" y="168"/>
                    <a:pt x="122" y="179"/>
                    <a:pt x="129" y="183"/>
                  </a:cubicBezTo>
                  <a:cubicBezTo>
                    <a:pt x="152" y="199"/>
                    <a:pt x="185" y="168"/>
                    <a:pt x="198" y="150"/>
                  </a:cubicBezTo>
                  <a:cubicBezTo>
                    <a:pt x="200" y="148"/>
                    <a:pt x="191" y="148"/>
                    <a:pt x="189" y="150"/>
                  </a:cubicBezTo>
                  <a:cubicBezTo>
                    <a:pt x="180" y="156"/>
                    <a:pt x="164" y="173"/>
                    <a:pt x="158" y="168"/>
                  </a:cubicBezTo>
                  <a:cubicBezTo>
                    <a:pt x="151" y="161"/>
                    <a:pt x="181" y="102"/>
                    <a:pt x="202" y="68"/>
                  </a:cubicBezTo>
                  <a:cubicBezTo>
                    <a:pt x="216" y="67"/>
                    <a:pt x="233" y="68"/>
                    <a:pt x="242" y="68"/>
                  </a:cubicBezTo>
                  <a:moveTo>
                    <a:pt x="106" y="72"/>
                  </a:moveTo>
                  <a:cubicBezTo>
                    <a:pt x="113" y="74"/>
                    <a:pt x="98" y="102"/>
                    <a:pt x="89" y="111"/>
                  </a:cubicBezTo>
                  <a:cubicBezTo>
                    <a:pt x="71" y="129"/>
                    <a:pt x="50" y="125"/>
                    <a:pt x="50" y="125"/>
                  </a:cubicBezTo>
                  <a:cubicBezTo>
                    <a:pt x="58" y="99"/>
                    <a:pt x="96" y="70"/>
                    <a:pt x="106" y="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1" name="Freeform 22"/>
            <p:cNvSpPr>
              <a:spLocks noEditPoints="1"/>
            </p:cNvSpPr>
            <p:nvPr/>
          </p:nvSpPr>
          <p:spPr bwMode="auto">
            <a:xfrm>
              <a:off x="6613525" y="3644900"/>
              <a:ext cx="636587" cy="688975"/>
            </a:xfrm>
            <a:custGeom>
              <a:avLst/>
              <a:gdLst>
                <a:gd name="T0" fmla="*/ 142 w 170"/>
                <a:gd name="T1" fmla="*/ 22 h 184"/>
                <a:gd name="T2" fmla="*/ 130 w 170"/>
                <a:gd name="T3" fmla="*/ 4 h 184"/>
                <a:gd name="T4" fmla="*/ 44 w 170"/>
                <a:gd name="T5" fmla="*/ 42 h 184"/>
                <a:gd name="T6" fmla="*/ 28 w 170"/>
                <a:gd name="T7" fmla="*/ 120 h 184"/>
                <a:gd name="T8" fmla="*/ 100 w 170"/>
                <a:gd name="T9" fmla="*/ 88 h 184"/>
                <a:gd name="T10" fmla="*/ 78 w 170"/>
                <a:gd name="T11" fmla="*/ 133 h 184"/>
                <a:gd name="T12" fmla="*/ 40 w 170"/>
                <a:gd name="T13" fmla="*/ 166 h 184"/>
                <a:gd name="T14" fmla="*/ 12 w 170"/>
                <a:gd name="T15" fmla="*/ 142 h 184"/>
                <a:gd name="T16" fmla="*/ 0 w 170"/>
                <a:gd name="T17" fmla="*/ 153 h 184"/>
                <a:gd name="T18" fmla="*/ 45 w 170"/>
                <a:gd name="T19" fmla="*/ 180 h 184"/>
                <a:gd name="T20" fmla="*/ 134 w 170"/>
                <a:gd name="T21" fmla="*/ 84 h 184"/>
                <a:gd name="T22" fmla="*/ 167 w 170"/>
                <a:gd name="T23" fmla="*/ 23 h 184"/>
                <a:gd name="T24" fmla="*/ 144 w 170"/>
                <a:gd name="T25" fmla="*/ 19 h 184"/>
                <a:gd name="T26" fmla="*/ 142 w 170"/>
                <a:gd name="T27" fmla="*/ 22 h 184"/>
                <a:gd name="T28" fmla="*/ 123 w 170"/>
                <a:gd name="T29" fmla="*/ 40 h 184"/>
                <a:gd name="T30" fmla="*/ 58 w 170"/>
                <a:gd name="T31" fmla="*/ 92 h 184"/>
                <a:gd name="T32" fmla="*/ 78 w 170"/>
                <a:gd name="T33" fmla="*/ 40 h 184"/>
                <a:gd name="T34" fmla="*/ 123 w 170"/>
                <a:gd name="T35" fmla="*/ 4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84">
                  <a:moveTo>
                    <a:pt x="142" y="22"/>
                  </a:moveTo>
                  <a:cubicBezTo>
                    <a:pt x="142" y="22"/>
                    <a:pt x="141" y="9"/>
                    <a:pt x="130" y="4"/>
                  </a:cubicBezTo>
                  <a:cubicBezTo>
                    <a:pt x="119" y="0"/>
                    <a:pt x="76" y="3"/>
                    <a:pt x="44" y="42"/>
                  </a:cubicBezTo>
                  <a:cubicBezTo>
                    <a:pt x="18" y="75"/>
                    <a:pt x="13" y="104"/>
                    <a:pt x="28" y="120"/>
                  </a:cubicBezTo>
                  <a:cubicBezTo>
                    <a:pt x="39" y="131"/>
                    <a:pt x="69" y="128"/>
                    <a:pt x="100" y="88"/>
                  </a:cubicBezTo>
                  <a:cubicBezTo>
                    <a:pt x="99" y="90"/>
                    <a:pt x="81" y="127"/>
                    <a:pt x="78" y="133"/>
                  </a:cubicBezTo>
                  <a:cubicBezTo>
                    <a:pt x="67" y="152"/>
                    <a:pt x="49" y="165"/>
                    <a:pt x="40" y="166"/>
                  </a:cubicBezTo>
                  <a:cubicBezTo>
                    <a:pt x="17" y="170"/>
                    <a:pt x="13" y="151"/>
                    <a:pt x="12" y="142"/>
                  </a:cubicBezTo>
                  <a:cubicBezTo>
                    <a:pt x="12" y="141"/>
                    <a:pt x="0" y="142"/>
                    <a:pt x="0" y="153"/>
                  </a:cubicBezTo>
                  <a:cubicBezTo>
                    <a:pt x="0" y="168"/>
                    <a:pt x="17" y="184"/>
                    <a:pt x="45" y="180"/>
                  </a:cubicBezTo>
                  <a:cubicBezTo>
                    <a:pt x="94" y="173"/>
                    <a:pt x="112" y="134"/>
                    <a:pt x="134" y="84"/>
                  </a:cubicBezTo>
                  <a:cubicBezTo>
                    <a:pt x="137" y="77"/>
                    <a:pt x="153" y="42"/>
                    <a:pt x="167" y="23"/>
                  </a:cubicBezTo>
                  <a:cubicBezTo>
                    <a:pt x="170" y="20"/>
                    <a:pt x="148" y="15"/>
                    <a:pt x="144" y="19"/>
                  </a:cubicBezTo>
                  <a:lnTo>
                    <a:pt x="142" y="22"/>
                  </a:lnTo>
                  <a:close/>
                  <a:moveTo>
                    <a:pt x="123" y="40"/>
                  </a:moveTo>
                  <a:cubicBezTo>
                    <a:pt x="102" y="72"/>
                    <a:pt x="69" y="109"/>
                    <a:pt x="58" y="92"/>
                  </a:cubicBezTo>
                  <a:cubicBezTo>
                    <a:pt x="54" y="86"/>
                    <a:pt x="56" y="68"/>
                    <a:pt x="78" y="40"/>
                  </a:cubicBezTo>
                  <a:cubicBezTo>
                    <a:pt x="106" y="5"/>
                    <a:pt x="141" y="13"/>
                    <a:pt x="123" y="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2" name="Freeform 23"/>
            <p:cNvSpPr>
              <a:spLocks/>
            </p:cNvSpPr>
            <p:nvPr/>
          </p:nvSpPr>
          <p:spPr bwMode="auto">
            <a:xfrm>
              <a:off x="7723188" y="3400425"/>
              <a:ext cx="303212" cy="584200"/>
            </a:xfrm>
            <a:custGeom>
              <a:avLst/>
              <a:gdLst>
                <a:gd name="T0" fmla="*/ 79 w 81"/>
                <a:gd name="T1" fmla="*/ 18 h 156"/>
                <a:gd name="T2" fmla="*/ 51 w 81"/>
                <a:gd name="T3" fmla="*/ 0 h 156"/>
                <a:gd name="T4" fmla="*/ 6 w 81"/>
                <a:gd name="T5" fmla="*/ 116 h 156"/>
                <a:gd name="T6" fmla="*/ 9 w 81"/>
                <a:gd name="T7" fmla="*/ 152 h 156"/>
                <a:gd name="T8" fmla="*/ 18 w 81"/>
                <a:gd name="T9" fmla="*/ 145 h 156"/>
                <a:gd name="T10" fmla="*/ 75 w 81"/>
                <a:gd name="T11" fmla="*/ 39 h 156"/>
                <a:gd name="T12" fmla="*/ 79 w 81"/>
                <a:gd name="T13" fmla="*/ 1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56">
                  <a:moveTo>
                    <a:pt x="79" y="18"/>
                  </a:moveTo>
                  <a:cubicBezTo>
                    <a:pt x="74" y="11"/>
                    <a:pt x="57" y="2"/>
                    <a:pt x="51" y="0"/>
                  </a:cubicBezTo>
                  <a:cubicBezTo>
                    <a:pt x="39" y="31"/>
                    <a:pt x="20" y="71"/>
                    <a:pt x="6" y="116"/>
                  </a:cubicBezTo>
                  <a:cubicBezTo>
                    <a:pt x="3" y="129"/>
                    <a:pt x="0" y="145"/>
                    <a:pt x="9" y="152"/>
                  </a:cubicBezTo>
                  <a:cubicBezTo>
                    <a:pt x="14" y="156"/>
                    <a:pt x="16" y="150"/>
                    <a:pt x="18" y="145"/>
                  </a:cubicBezTo>
                  <a:cubicBezTo>
                    <a:pt x="37" y="104"/>
                    <a:pt x="73" y="43"/>
                    <a:pt x="75" y="39"/>
                  </a:cubicBezTo>
                  <a:cubicBezTo>
                    <a:pt x="81" y="29"/>
                    <a:pt x="81" y="21"/>
                    <a:pt x="79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3" name="Oval 24"/>
            <p:cNvSpPr>
              <a:spLocks noChangeArrowheads="1"/>
            </p:cNvSpPr>
            <p:nvPr/>
          </p:nvSpPr>
          <p:spPr bwMode="auto">
            <a:xfrm>
              <a:off x="7640638" y="4014788"/>
              <a:ext cx="134937" cy="1317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4" name="Freeform 25"/>
            <p:cNvSpPr>
              <a:spLocks/>
            </p:cNvSpPr>
            <p:nvPr/>
          </p:nvSpPr>
          <p:spPr bwMode="auto">
            <a:xfrm>
              <a:off x="6122988" y="3414713"/>
              <a:ext cx="160337" cy="188913"/>
            </a:xfrm>
            <a:custGeom>
              <a:avLst/>
              <a:gdLst>
                <a:gd name="T0" fmla="*/ 8 w 43"/>
                <a:gd name="T1" fmla="*/ 50 h 50"/>
                <a:gd name="T2" fmla="*/ 43 w 43"/>
                <a:gd name="T3" fmla="*/ 20 h 50"/>
                <a:gd name="T4" fmla="*/ 31 w 43"/>
                <a:gd name="T5" fmla="*/ 4 h 50"/>
                <a:gd name="T6" fmla="*/ 20 w 43"/>
                <a:gd name="T7" fmla="*/ 35 h 50"/>
                <a:gd name="T8" fmla="*/ 3 w 43"/>
                <a:gd name="T9" fmla="*/ 46 h 50"/>
                <a:gd name="T10" fmla="*/ 8 w 43"/>
                <a:gd name="T1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50">
                  <a:moveTo>
                    <a:pt x="8" y="50"/>
                  </a:moveTo>
                  <a:cubicBezTo>
                    <a:pt x="25" y="50"/>
                    <a:pt x="40" y="41"/>
                    <a:pt x="43" y="20"/>
                  </a:cubicBezTo>
                  <a:cubicBezTo>
                    <a:pt x="43" y="18"/>
                    <a:pt x="43" y="6"/>
                    <a:pt x="31" y="4"/>
                  </a:cubicBezTo>
                  <a:cubicBezTo>
                    <a:pt x="7" y="0"/>
                    <a:pt x="2" y="30"/>
                    <a:pt x="20" y="35"/>
                  </a:cubicBezTo>
                  <a:cubicBezTo>
                    <a:pt x="17" y="42"/>
                    <a:pt x="10" y="44"/>
                    <a:pt x="3" y="46"/>
                  </a:cubicBezTo>
                  <a:cubicBezTo>
                    <a:pt x="0" y="47"/>
                    <a:pt x="5" y="50"/>
                    <a:pt x="8" y="5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5" name="Freeform 26"/>
            <p:cNvSpPr>
              <a:spLocks noEditPoints="1"/>
            </p:cNvSpPr>
            <p:nvPr/>
          </p:nvSpPr>
          <p:spPr bwMode="auto">
            <a:xfrm>
              <a:off x="7018338" y="3562350"/>
              <a:ext cx="787400" cy="647700"/>
            </a:xfrm>
            <a:custGeom>
              <a:avLst/>
              <a:gdLst>
                <a:gd name="T0" fmla="*/ 158 w 210"/>
                <a:gd name="T1" fmla="*/ 37 h 173"/>
                <a:gd name="T2" fmla="*/ 71 w 210"/>
                <a:gd name="T3" fmla="*/ 154 h 173"/>
                <a:gd name="T4" fmla="*/ 158 w 210"/>
                <a:gd name="T5" fmla="*/ 37 h 173"/>
                <a:gd name="T6" fmla="*/ 132 w 210"/>
                <a:gd name="T7" fmla="*/ 102 h 173"/>
                <a:gd name="T8" fmla="*/ 120 w 210"/>
                <a:gd name="T9" fmla="*/ 119 h 173"/>
                <a:gd name="T10" fmla="*/ 106 w 210"/>
                <a:gd name="T11" fmla="*/ 132 h 173"/>
                <a:gd name="T12" fmla="*/ 84 w 210"/>
                <a:gd name="T13" fmla="*/ 141 h 173"/>
                <a:gd name="T14" fmla="*/ 90 w 210"/>
                <a:gd name="T15" fmla="*/ 81 h 173"/>
                <a:gd name="T16" fmla="*/ 143 w 210"/>
                <a:gd name="T17" fmla="*/ 41 h 173"/>
                <a:gd name="T18" fmla="*/ 132 w 210"/>
                <a:gd name="T19" fmla="*/ 10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0" h="173">
                  <a:moveTo>
                    <a:pt x="158" y="37"/>
                  </a:moveTo>
                  <a:cubicBezTo>
                    <a:pt x="74" y="0"/>
                    <a:pt x="0" y="135"/>
                    <a:pt x="71" y="154"/>
                  </a:cubicBezTo>
                  <a:cubicBezTo>
                    <a:pt x="138" y="173"/>
                    <a:pt x="210" y="60"/>
                    <a:pt x="158" y="37"/>
                  </a:cubicBezTo>
                  <a:moveTo>
                    <a:pt x="132" y="102"/>
                  </a:moveTo>
                  <a:cubicBezTo>
                    <a:pt x="129" y="107"/>
                    <a:pt x="125" y="113"/>
                    <a:pt x="120" y="119"/>
                  </a:cubicBezTo>
                  <a:cubicBezTo>
                    <a:pt x="114" y="124"/>
                    <a:pt x="110" y="129"/>
                    <a:pt x="106" y="132"/>
                  </a:cubicBezTo>
                  <a:cubicBezTo>
                    <a:pt x="98" y="137"/>
                    <a:pt x="91" y="141"/>
                    <a:pt x="84" y="141"/>
                  </a:cubicBezTo>
                  <a:cubicBezTo>
                    <a:pt x="67" y="140"/>
                    <a:pt x="70" y="108"/>
                    <a:pt x="90" y="81"/>
                  </a:cubicBezTo>
                  <a:cubicBezTo>
                    <a:pt x="105" y="59"/>
                    <a:pt x="127" y="34"/>
                    <a:pt x="143" y="41"/>
                  </a:cubicBezTo>
                  <a:cubicBezTo>
                    <a:pt x="155" y="47"/>
                    <a:pt x="148" y="74"/>
                    <a:pt x="132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702157" y="1181100"/>
            <a:ext cx="727473" cy="996950"/>
            <a:chOff x="4936" y="176"/>
            <a:chExt cx="423" cy="628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dirty="0">
                <a:solidFill>
                  <a:srgbClr val="6C6F7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dirty="0">
                <a:solidFill>
                  <a:srgbClr val="6C6F7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dirty="0">
                <a:solidFill>
                  <a:srgbClr val="6C6F7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dirty="0">
                <a:solidFill>
                  <a:srgbClr val="6C6F70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368513" y="1181100"/>
            <a:ext cx="1061114" cy="730250"/>
            <a:chOff x="4750" y="176"/>
            <a:chExt cx="617" cy="46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Calibri" pitchFamily="34" charset="0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Calibri" pitchFamily="34" charset="0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Calibri" pitchFamily="34" charset="0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</p:grpSp>
      <p:grpSp>
        <p:nvGrpSpPr>
          <p:cNvPr id="42" name="McKSticker" hidden="1"/>
          <p:cNvGrpSpPr>
            <a:grpSpLocks/>
          </p:cNvGrpSpPr>
          <p:nvPr/>
        </p:nvGrpSpPr>
        <p:grpSpPr bwMode="auto">
          <a:xfrm>
            <a:off x="8577109" y="1181100"/>
            <a:ext cx="886909" cy="212366"/>
            <a:chOff x="7921298" y="285750"/>
            <a:chExt cx="819477" cy="213241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921298" y="285750"/>
              <a:ext cx="819477" cy="21324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r"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808080"/>
                  </a:solidFill>
                  <a:latin typeface="Calibri" pitchFamily="34" charset="0"/>
                  <a:cs typeface="Calibri" pitchFamily="34" charset="0"/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</p:cNvCxnSpPr>
            <p:nvPr/>
          </p:nvCxnSpPr>
          <p:spPr bwMode="auto">
            <a:xfrm>
              <a:off x="792416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</p:cNvCxnSpPr>
            <p:nvPr/>
          </p:nvCxnSpPr>
          <p:spPr bwMode="auto">
            <a:xfrm>
              <a:off x="7924161" y="498116"/>
              <a:ext cx="81661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>
            <a:grpSpLocks/>
          </p:cNvGrpSpPr>
          <p:nvPr/>
        </p:nvGrpSpPr>
        <p:grpSpPr bwMode="auto">
          <a:xfrm>
            <a:off x="8631640" y="1181103"/>
            <a:ext cx="799370" cy="1306513"/>
            <a:chOff x="6655594" y="273840"/>
            <a:chExt cx="737587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6976142" y="286540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6976142" y="561179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6976142" y="835816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6976142" y="1107280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6976142" y="1383506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</p:grpSp>
      <p:sp>
        <p:nvSpPr>
          <p:cNvPr id="67" name="Slide Number"/>
          <p:cNvSpPr txBox="1">
            <a:spLocks/>
          </p:cNvSpPr>
          <p:nvPr userDrawn="1"/>
        </p:nvSpPr>
        <p:spPr bwMode="auto">
          <a:xfrm>
            <a:off x="9614775" y="6581825"/>
            <a:ext cx="15078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84E91757-875D-405E-AF7C-E5A3244A6BA7}" type="slidenum">
              <a:rPr lang="en-US" smtClean="0">
                <a:solidFill>
                  <a:srgbClr val="6C6F70"/>
                </a:solidFill>
                <a:cs typeface="+mn-cs"/>
              </a:rPr>
              <a:pPr algn="ctr">
                <a:defRPr/>
              </a:pPr>
              <a:t>‹#›</a:t>
            </a:fld>
            <a:endParaRPr lang="en-US" dirty="0">
              <a:solidFill>
                <a:srgbClr val="6C6F70"/>
              </a:solidFill>
              <a:cs typeface="+mn-cs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444526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3"/>
          <a:ext cx="175419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589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292"/>
                      <p:cNvPicPr>
                        <a:picLocks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3"/>
                        <a:ext cx="175419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/>
          <p:cNvSpPr>
            <a:spLocks noChangeArrowheads="1"/>
          </p:cNvSpPr>
          <p:nvPr/>
        </p:nvSpPr>
        <p:spPr bwMode="auto">
          <a:xfrm>
            <a:off x="8739981" y="36513"/>
            <a:ext cx="724033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912813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912813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912813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912813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9001462" y="2562892"/>
            <a:ext cx="165429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dirty="0" smtClean="0">
                <a:solidFill>
                  <a:srgbClr val="6C6F70"/>
                </a:solidFill>
                <a:latin typeface="Calibri"/>
                <a:cs typeface="+mn-cs"/>
              </a:rPr>
              <a:t>Last Modified 05/12/2013 06:36 GMT Standard Time</a:t>
            </a:r>
            <a:endParaRPr lang="en-US" dirty="0" smtClean="0">
              <a:solidFill>
                <a:srgbClr val="6C6F70"/>
              </a:solidFill>
              <a:latin typeface="Calibri"/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9037866" y="4780629"/>
            <a:ext cx="158148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6C6F70"/>
                </a:solidFill>
                <a:latin typeface="Calibri"/>
                <a:cs typeface="+mn-cs"/>
              </a:rPr>
              <a:t>Printed 10/28/2013 11:12 AM GMT Standard Time</a:t>
            </a:r>
            <a:endParaRPr lang="en-US" dirty="0" smtClean="0">
              <a:solidFill>
                <a:srgbClr val="6C6F70"/>
              </a:solidFill>
              <a:latin typeface="Calibri"/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441989" y="26988"/>
            <a:ext cx="66300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808080"/>
                </a:solidFill>
                <a:latin typeface="Calibri" pitchFamily="34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441989" y="1117603"/>
            <a:ext cx="9022027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Calibri"/>
                <a:cs typeface="+mn-cs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441989" y="6026150"/>
            <a:ext cx="9022027" cy="381000"/>
            <a:chOff x="75" y="3915"/>
            <a:chExt cx="5385" cy="23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15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5250" indent="-95250">
                <a:defRPr/>
              </a:pPr>
              <a:r>
                <a:rPr lang="en-US" sz="1000" dirty="0" smtClean="0">
                  <a:solidFill>
                    <a:srgbClr val="6C6F70"/>
                  </a:solidFill>
                  <a:latin typeface="Calibri"/>
                  <a:cs typeface="+mn-cs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379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485775" indent="-485775" defTabSz="91281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91281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91281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91281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91281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sz="1000" dirty="0">
                  <a:solidFill>
                    <a:srgbClr val="6C6F70"/>
                  </a:solidFill>
                  <a:latin typeface="Calibri" pitchFamily="34" charset="0"/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25158" y="2032003"/>
            <a:ext cx="4713950" cy="519113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b="1" dirty="0">
                  <a:solidFill>
                    <a:srgbClr val="6C6F70"/>
                  </a:solidFill>
                  <a:latin typeface="Calibri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US" dirty="0">
                  <a:solidFill>
                    <a:srgbClr val="808080"/>
                  </a:solidFill>
                  <a:latin typeface="Calibri" pitchFamily="34" charset="0"/>
                </a:rPr>
                <a:t>Unit of measure</a:t>
              </a:r>
            </a:p>
          </p:txBody>
        </p:sp>
      </p:grpSp>
      <p:sp>
        <p:nvSpPr>
          <p:cNvPr id="15" name="Line 8"/>
          <p:cNvSpPr>
            <a:spLocks noChangeShapeType="1"/>
          </p:cNvSpPr>
          <p:nvPr/>
        </p:nvSpPr>
        <p:spPr bwMode="auto">
          <a:xfrm>
            <a:off x="441989" y="1109663"/>
            <a:ext cx="9022027" cy="0"/>
          </a:xfrm>
          <a:prstGeom prst="line">
            <a:avLst/>
          </a:prstGeom>
          <a:noFill/>
          <a:ln w="19050">
            <a:solidFill>
              <a:srgbClr val="F8AC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dirty="0"/>
          </a:p>
        </p:txBody>
      </p:sp>
      <p:pic>
        <p:nvPicPr>
          <p:cNvPr id="16" name="Picture 3" descr="F:\00_eldorado\Thomas Cook\07 TCLC 09.2013\00 brand design\logos\00 Group\ThomasCook_hori_office.png"/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99509" y="6494466"/>
            <a:ext cx="1755907" cy="22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7" name="Gruppieren 10"/>
          <p:cNvGrpSpPr>
            <a:grpSpLocks noChangeAspect="1"/>
          </p:cNvGrpSpPr>
          <p:nvPr/>
        </p:nvGrpSpPr>
        <p:grpSpPr bwMode="auto">
          <a:xfrm>
            <a:off x="440944" y="6505360"/>
            <a:ext cx="975000" cy="256646"/>
            <a:chOff x="4741863" y="3397250"/>
            <a:chExt cx="3284537" cy="936625"/>
          </a:xfrm>
          <a:solidFill>
            <a:srgbClr val="6C6F70"/>
          </a:solidFill>
        </p:grpSpPr>
        <p:sp>
          <p:nvSpPr>
            <p:cNvPr id="18" name="Freeform 19"/>
            <p:cNvSpPr>
              <a:spLocks/>
            </p:cNvSpPr>
            <p:nvPr/>
          </p:nvSpPr>
          <p:spPr bwMode="auto">
            <a:xfrm>
              <a:off x="6073775" y="3670300"/>
              <a:ext cx="457200" cy="490538"/>
            </a:xfrm>
            <a:custGeom>
              <a:avLst/>
              <a:gdLst>
                <a:gd name="T0" fmla="*/ 92 w 122"/>
                <a:gd name="T1" fmla="*/ 0 h 131"/>
                <a:gd name="T2" fmla="*/ 35 w 122"/>
                <a:gd name="T3" fmla="*/ 28 h 131"/>
                <a:gd name="T4" fmla="*/ 25 w 122"/>
                <a:gd name="T5" fmla="*/ 43 h 131"/>
                <a:gd name="T6" fmla="*/ 45 w 122"/>
                <a:gd name="T7" fmla="*/ 86 h 131"/>
                <a:gd name="T8" fmla="*/ 60 w 122"/>
                <a:gd name="T9" fmla="*/ 99 h 131"/>
                <a:gd name="T10" fmla="*/ 60 w 122"/>
                <a:gd name="T11" fmla="*/ 109 h 131"/>
                <a:gd name="T12" fmla="*/ 17 w 122"/>
                <a:gd name="T13" fmla="*/ 111 h 131"/>
                <a:gd name="T14" fmla="*/ 2 w 122"/>
                <a:gd name="T15" fmla="*/ 101 h 131"/>
                <a:gd name="T16" fmla="*/ 1 w 122"/>
                <a:gd name="T17" fmla="*/ 103 h 131"/>
                <a:gd name="T18" fmla="*/ 2 w 122"/>
                <a:gd name="T19" fmla="*/ 109 h 131"/>
                <a:gd name="T20" fmla="*/ 12 w 122"/>
                <a:gd name="T21" fmla="*/ 119 h 131"/>
                <a:gd name="T22" fmla="*/ 64 w 122"/>
                <a:gd name="T23" fmla="*/ 129 h 131"/>
                <a:gd name="T24" fmla="*/ 80 w 122"/>
                <a:gd name="T25" fmla="*/ 84 h 131"/>
                <a:gd name="T26" fmla="*/ 62 w 122"/>
                <a:gd name="T27" fmla="*/ 46 h 131"/>
                <a:gd name="T28" fmla="*/ 72 w 122"/>
                <a:gd name="T29" fmla="*/ 31 h 131"/>
                <a:gd name="T30" fmla="*/ 110 w 122"/>
                <a:gd name="T31" fmla="*/ 26 h 131"/>
                <a:gd name="T32" fmla="*/ 112 w 122"/>
                <a:gd name="T33" fmla="*/ 34 h 131"/>
                <a:gd name="T34" fmla="*/ 121 w 122"/>
                <a:gd name="T35" fmla="*/ 36 h 131"/>
                <a:gd name="T36" fmla="*/ 121 w 122"/>
                <a:gd name="T37" fmla="*/ 21 h 131"/>
                <a:gd name="T38" fmla="*/ 92 w 122"/>
                <a:gd name="T39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2" h="131">
                  <a:moveTo>
                    <a:pt x="92" y="0"/>
                  </a:moveTo>
                  <a:cubicBezTo>
                    <a:pt x="71" y="0"/>
                    <a:pt x="49" y="12"/>
                    <a:pt x="35" y="28"/>
                  </a:cubicBezTo>
                  <a:cubicBezTo>
                    <a:pt x="31" y="32"/>
                    <a:pt x="27" y="38"/>
                    <a:pt x="25" y="43"/>
                  </a:cubicBezTo>
                  <a:cubicBezTo>
                    <a:pt x="17" y="61"/>
                    <a:pt x="31" y="78"/>
                    <a:pt x="45" y="86"/>
                  </a:cubicBezTo>
                  <a:cubicBezTo>
                    <a:pt x="51" y="89"/>
                    <a:pt x="57" y="93"/>
                    <a:pt x="60" y="99"/>
                  </a:cubicBezTo>
                  <a:cubicBezTo>
                    <a:pt x="61" y="102"/>
                    <a:pt x="61" y="106"/>
                    <a:pt x="60" y="109"/>
                  </a:cubicBezTo>
                  <a:cubicBezTo>
                    <a:pt x="52" y="119"/>
                    <a:pt x="24" y="114"/>
                    <a:pt x="17" y="111"/>
                  </a:cubicBezTo>
                  <a:cubicBezTo>
                    <a:pt x="11" y="108"/>
                    <a:pt x="7" y="104"/>
                    <a:pt x="2" y="101"/>
                  </a:cubicBezTo>
                  <a:cubicBezTo>
                    <a:pt x="2" y="101"/>
                    <a:pt x="1" y="101"/>
                    <a:pt x="1" y="103"/>
                  </a:cubicBezTo>
                  <a:cubicBezTo>
                    <a:pt x="0" y="105"/>
                    <a:pt x="0" y="107"/>
                    <a:pt x="2" y="109"/>
                  </a:cubicBezTo>
                  <a:cubicBezTo>
                    <a:pt x="4" y="113"/>
                    <a:pt x="8" y="116"/>
                    <a:pt x="12" y="119"/>
                  </a:cubicBezTo>
                  <a:cubicBezTo>
                    <a:pt x="27" y="128"/>
                    <a:pt x="46" y="131"/>
                    <a:pt x="64" y="129"/>
                  </a:cubicBezTo>
                  <a:cubicBezTo>
                    <a:pt x="93" y="125"/>
                    <a:pt x="97" y="100"/>
                    <a:pt x="80" y="84"/>
                  </a:cubicBezTo>
                  <a:cubicBezTo>
                    <a:pt x="67" y="73"/>
                    <a:pt x="55" y="65"/>
                    <a:pt x="62" y="46"/>
                  </a:cubicBezTo>
                  <a:cubicBezTo>
                    <a:pt x="64" y="40"/>
                    <a:pt x="68" y="35"/>
                    <a:pt x="72" y="31"/>
                  </a:cubicBezTo>
                  <a:cubicBezTo>
                    <a:pt x="80" y="23"/>
                    <a:pt x="107" y="7"/>
                    <a:pt x="110" y="26"/>
                  </a:cubicBezTo>
                  <a:cubicBezTo>
                    <a:pt x="110" y="30"/>
                    <a:pt x="110" y="31"/>
                    <a:pt x="112" y="34"/>
                  </a:cubicBezTo>
                  <a:cubicBezTo>
                    <a:pt x="113" y="36"/>
                    <a:pt x="118" y="39"/>
                    <a:pt x="121" y="36"/>
                  </a:cubicBezTo>
                  <a:cubicBezTo>
                    <a:pt x="121" y="36"/>
                    <a:pt x="122" y="25"/>
                    <a:pt x="121" y="21"/>
                  </a:cubicBezTo>
                  <a:cubicBezTo>
                    <a:pt x="118" y="10"/>
                    <a:pt x="97" y="0"/>
                    <a:pt x="9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9" name="Freeform 20"/>
            <p:cNvSpPr>
              <a:spLocks/>
            </p:cNvSpPr>
            <p:nvPr/>
          </p:nvSpPr>
          <p:spPr bwMode="auto">
            <a:xfrm>
              <a:off x="4741863" y="3397250"/>
              <a:ext cx="522287" cy="793750"/>
            </a:xfrm>
            <a:custGeom>
              <a:avLst/>
              <a:gdLst>
                <a:gd name="T0" fmla="*/ 122 w 139"/>
                <a:gd name="T1" fmla="*/ 186 h 212"/>
                <a:gd name="T2" fmla="*/ 41 w 139"/>
                <a:gd name="T3" fmla="*/ 190 h 212"/>
                <a:gd name="T4" fmla="*/ 115 w 139"/>
                <a:gd name="T5" fmla="*/ 58 h 212"/>
                <a:gd name="T6" fmla="*/ 132 w 139"/>
                <a:gd name="T7" fmla="*/ 25 h 212"/>
                <a:gd name="T8" fmla="*/ 131 w 139"/>
                <a:gd name="T9" fmla="*/ 17 h 212"/>
                <a:gd name="T10" fmla="*/ 118 w 139"/>
                <a:gd name="T11" fmla="*/ 0 h 212"/>
                <a:gd name="T12" fmla="*/ 114 w 139"/>
                <a:gd name="T13" fmla="*/ 1 h 212"/>
                <a:gd name="T14" fmla="*/ 101 w 139"/>
                <a:gd name="T15" fmla="*/ 18 h 212"/>
                <a:gd name="T16" fmla="*/ 50 w 139"/>
                <a:gd name="T17" fmla="*/ 92 h 212"/>
                <a:gd name="T18" fmla="*/ 29 w 139"/>
                <a:gd name="T19" fmla="*/ 128 h 212"/>
                <a:gd name="T20" fmla="*/ 6 w 139"/>
                <a:gd name="T21" fmla="*/ 172 h 212"/>
                <a:gd name="T22" fmla="*/ 23 w 139"/>
                <a:gd name="T23" fmla="*/ 208 h 212"/>
                <a:gd name="T24" fmla="*/ 31 w 139"/>
                <a:gd name="T25" fmla="*/ 212 h 212"/>
                <a:gd name="T26" fmla="*/ 136 w 139"/>
                <a:gd name="T27" fmla="*/ 198 h 212"/>
                <a:gd name="T28" fmla="*/ 122 w 139"/>
                <a:gd name="T29" fmla="*/ 186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9" h="212">
                  <a:moveTo>
                    <a:pt x="122" y="186"/>
                  </a:moveTo>
                  <a:cubicBezTo>
                    <a:pt x="97" y="180"/>
                    <a:pt x="64" y="188"/>
                    <a:pt x="41" y="190"/>
                  </a:cubicBezTo>
                  <a:cubicBezTo>
                    <a:pt x="61" y="154"/>
                    <a:pt x="96" y="91"/>
                    <a:pt x="115" y="58"/>
                  </a:cubicBezTo>
                  <a:cubicBezTo>
                    <a:pt x="120" y="49"/>
                    <a:pt x="128" y="34"/>
                    <a:pt x="132" y="25"/>
                  </a:cubicBezTo>
                  <a:cubicBezTo>
                    <a:pt x="132" y="25"/>
                    <a:pt x="134" y="22"/>
                    <a:pt x="131" y="17"/>
                  </a:cubicBezTo>
                  <a:cubicBezTo>
                    <a:pt x="130" y="12"/>
                    <a:pt x="119" y="2"/>
                    <a:pt x="118" y="0"/>
                  </a:cubicBezTo>
                  <a:cubicBezTo>
                    <a:pt x="117" y="0"/>
                    <a:pt x="115" y="0"/>
                    <a:pt x="114" y="1"/>
                  </a:cubicBezTo>
                  <a:cubicBezTo>
                    <a:pt x="110" y="6"/>
                    <a:pt x="102" y="15"/>
                    <a:pt x="101" y="18"/>
                  </a:cubicBezTo>
                  <a:cubicBezTo>
                    <a:pt x="97" y="22"/>
                    <a:pt x="59" y="78"/>
                    <a:pt x="50" y="92"/>
                  </a:cubicBezTo>
                  <a:cubicBezTo>
                    <a:pt x="47" y="98"/>
                    <a:pt x="32" y="121"/>
                    <a:pt x="29" y="128"/>
                  </a:cubicBezTo>
                  <a:cubicBezTo>
                    <a:pt x="19" y="146"/>
                    <a:pt x="12" y="159"/>
                    <a:pt x="6" y="172"/>
                  </a:cubicBezTo>
                  <a:cubicBezTo>
                    <a:pt x="0" y="192"/>
                    <a:pt x="16" y="203"/>
                    <a:pt x="23" y="208"/>
                  </a:cubicBezTo>
                  <a:cubicBezTo>
                    <a:pt x="23" y="208"/>
                    <a:pt x="28" y="212"/>
                    <a:pt x="31" y="212"/>
                  </a:cubicBezTo>
                  <a:cubicBezTo>
                    <a:pt x="45" y="212"/>
                    <a:pt x="106" y="198"/>
                    <a:pt x="136" y="198"/>
                  </a:cubicBezTo>
                  <a:cubicBezTo>
                    <a:pt x="139" y="197"/>
                    <a:pt x="130" y="191"/>
                    <a:pt x="122" y="18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0" name="Freeform 21"/>
            <p:cNvSpPr>
              <a:spLocks noEditPoints="1"/>
            </p:cNvSpPr>
            <p:nvPr/>
          </p:nvSpPr>
          <p:spPr bwMode="auto">
            <a:xfrm>
              <a:off x="5222875" y="3449638"/>
              <a:ext cx="917575" cy="752475"/>
            </a:xfrm>
            <a:custGeom>
              <a:avLst/>
              <a:gdLst>
                <a:gd name="T0" fmla="*/ 242 w 245"/>
                <a:gd name="T1" fmla="*/ 68 h 201"/>
                <a:gd name="T2" fmla="*/ 243 w 245"/>
                <a:gd name="T3" fmla="*/ 64 h 201"/>
                <a:gd name="T4" fmla="*/ 209 w 245"/>
                <a:gd name="T5" fmla="*/ 58 h 201"/>
                <a:gd name="T6" fmla="*/ 223 w 245"/>
                <a:gd name="T7" fmla="*/ 35 h 201"/>
                <a:gd name="T8" fmla="*/ 224 w 245"/>
                <a:gd name="T9" fmla="*/ 21 h 201"/>
                <a:gd name="T10" fmla="*/ 207 w 245"/>
                <a:gd name="T11" fmla="*/ 1 h 201"/>
                <a:gd name="T12" fmla="*/ 203 w 245"/>
                <a:gd name="T13" fmla="*/ 2 h 201"/>
                <a:gd name="T14" fmla="*/ 202 w 245"/>
                <a:gd name="T15" fmla="*/ 8 h 201"/>
                <a:gd name="T16" fmla="*/ 172 w 245"/>
                <a:gd name="T17" fmla="*/ 58 h 201"/>
                <a:gd name="T18" fmla="*/ 142 w 245"/>
                <a:gd name="T19" fmla="*/ 58 h 201"/>
                <a:gd name="T20" fmla="*/ 139 w 245"/>
                <a:gd name="T21" fmla="*/ 61 h 201"/>
                <a:gd name="T22" fmla="*/ 145 w 245"/>
                <a:gd name="T23" fmla="*/ 68 h 201"/>
                <a:gd name="T24" fmla="*/ 166 w 245"/>
                <a:gd name="T25" fmla="*/ 68 h 201"/>
                <a:gd name="T26" fmla="*/ 134 w 245"/>
                <a:gd name="T27" fmla="*/ 124 h 201"/>
                <a:gd name="T28" fmla="*/ 126 w 245"/>
                <a:gd name="T29" fmla="*/ 137 h 201"/>
                <a:gd name="T30" fmla="*/ 52 w 245"/>
                <a:gd name="T31" fmla="*/ 166 h 201"/>
                <a:gd name="T32" fmla="*/ 48 w 245"/>
                <a:gd name="T33" fmla="*/ 134 h 201"/>
                <a:gd name="T34" fmla="*/ 91 w 245"/>
                <a:gd name="T35" fmla="*/ 132 h 201"/>
                <a:gd name="T36" fmla="*/ 116 w 245"/>
                <a:gd name="T37" fmla="*/ 65 h 201"/>
                <a:gd name="T38" fmla="*/ 40 w 245"/>
                <a:gd name="T39" fmla="*/ 89 h 201"/>
                <a:gd name="T40" fmla="*/ 28 w 245"/>
                <a:gd name="T41" fmla="*/ 187 h 201"/>
                <a:gd name="T42" fmla="*/ 122 w 245"/>
                <a:gd name="T43" fmla="*/ 154 h 201"/>
                <a:gd name="T44" fmla="*/ 121 w 245"/>
                <a:gd name="T45" fmla="*/ 161 h 201"/>
                <a:gd name="T46" fmla="*/ 129 w 245"/>
                <a:gd name="T47" fmla="*/ 183 h 201"/>
                <a:gd name="T48" fmla="*/ 198 w 245"/>
                <a:gd name="T49" fmla="*/ 150 h 201"/>
                <a:gd name="T50" fmla="*/ 189 w 245"/>
                <a:gd name="T51" fmla="*/ 150 h 201"/>
                <a:gd name="T52" fmla="*/ 158 w 245"/>
                <a:gd name="T53" fmla="*/ 168 h 201"/>
                <a:gd name="T54" fmla="*/ 202 w 245"/>
                <a:gd name="T55" fmla="*/ 68 h 201"/>
                <a:gd name="T56" fmla="*/ 242 w 245"/>
                <a:gd name="T57" fmla="*/ 68 h 201"/>
                <a:gd name="T58" fmla="*/ 106 w 245"/>
                <a:gd name="T59" fmla="*/ 72 h 201"/>
                <a:gd name="T60" fmla="*/ 89 w 245"/>
                <a:gd name="T61" fmla="*/ 111 h 201"/>
                <a:gd name="T62" fmla="*/ 50 w 245"/>
                <a:gd name="T63" fmla="*/ 125 h 201"/>
                <a:gd name="T64" fmla="*/ 106 w 245"/>
                <a:gd name="T65" fmla="*/ 72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5" h="201">
                  <a:moveTo>
                    <a:pt x="242" y="68"/>
                  </a:moveTo>
                  <a:cubicBezTo>
                    <a:pt x="243" y="68"/>
                    <a:pt x="245" y="66"/>
                    <a:pt x="243" y="64"/>
                  </a:cubicBezTo>
                  <a:cubicBezTo>
                    <a:pt x="239" y="59"/>
                    <a:pt x="225" y="58"/>
                    <a:pt x="209" y="58"/>
                  </a:cubicBezTo>
                  <a:cubicBezTo>
                    <a:pt x="212" y="52"/>
                    <a:pt x="221" y="39"/>
                    <a:pt x="223" y="35"/>
                  </a:cubicBezTo>
                  <a:cubicBezTo>
                    <a:pt x="226" y="28"/>
                    <a:pt x="226" y="24"/>
                    <a:pt x="224" y="21"/>
                  </a:cubicBezTo>
                  <a:cubicBezTo>
                    <a:pt x="220" y="16"/>
                    <a:pt x="208" y="3"/>
                    <a:pt x="207" y="1"/>
                  </a:cubicBezTo>
                  <a:cubicBezTo>
                    <a:pt x="205" y="0"/>
                    <a:pt x="203" y="0"/>
                    <a:pt x="203" y="2"/>
                  </a:cubicBezTo>
                  <a:cubicBezTo>
                    <a:pt x="203" y="5"/>
                    <a:pt x="203" y="6"/>
                    <a:pt x="202" y="8"/>
                  </a:cubicBezTo>
                  <a:cubicBezTo>
                    <a:pt x="200" y="13"/>
                    <a:pt x="172" y="58"/>
                    <a:pt x="172" y="58"/>
                  </a:cubicBezTo>
                  <a:cubicBezTo>
                    <a:pt x="142" y="58"/>
                    <a:pt x="142" y="58"/>
                    <a:pt x="142" y="58"/>
                  </a:cubicBezTo>
                  <a:cubicBezTo>
                    <a:pt x="142" y="58"/>
                    <a:pt x="138" y="58"/>
                    <a:pt x="139" y="61"/>
                  </a:cubicBezTo>
                  <a:cubicBezTo>
                    <a:pt x="140" y="64"/>
                    <a:pt x="145" y="68"/>
                    <a:pt x="145" y="68"/>
                  </a:cubicBezTo>
                  <a:cubicBezTo>
                    <a:pt x="154" y="68"/>
                    <a:pt x="166" y="68"/>
                    <a:pt x="166" y="68"/>
                  </a:cubicBezTo>
                  <a:cubicBezTo>
                    <a:pt x="166" y="68"/>
                    <a:pt x="145" y="106"/>
                    <a:pt x="134" y="124"/>
                  </a:cubicBezTo>
                  <a:cubicBezTo>
                    <a:pt x="132" y="128"/>
                    <a:pt x="130" y="133"/>
                    <a:pt x="126" y="137"/>
                  </a:cubicBezTo>
                  <a:cubicBezTo>
                    <a:pt x="117" y="147"/>
                    <a:pt x="82" y="182"/>
                    <a:pt x="52" y="166"/>
                  </a:cubicBezTo>
                  <a:cubicBezTo>
                    <a:pt x="43" y="161"/>
                    <a:pt x="44" y="145"/>
                    <a:pt x="48" y="134"/>
                  </a:cubicBezTo>
                  <a:cubicBezTo>
                    <a:pt x="48" y="134"/>
                    <a:pt x="68" y="145"/>
                    <a:pt x="91" y="132"/>
                  </a:cubicBezTo>
                  <a:cubicBezTo>
                    <a:pt x="124" y="113"/>
                    <a:pt x="142" y="78"/>
                    <a:pt x="116" y="65"/>
                  </a:cubicBezTo>
                  <a:cubicBezTo>
                    <a:pt x="91" y="53"/>
                    <a:pt x="64" y="65"/>
                    <a:pt x="40" y="89"/>
                  </a:cubicBezTo>
                  <a:cubicBezTo>
                    <a:pt x="5" y="126"/>
                    <a:pt x="0" y="175"/>
                    <a:pt x="28" y="187"/>
                  </a:cubicBezTo>
                  <a:cubicBezTo>
                    <a:pt x="59" y="201"/>
                    <a:pt x="99" y="179"/>
                    <a:pt x="122" y="154"/>
                  </a:cubicBezTo>
                  <a:cubicBezTo>
                    <a:pt x="121" y="156"/>
                    <a:pt x="121" y="159"/>
                    <a:pt x="121" y="161"/>
                  </a:cubicBezTo>
                  <a:cubicBezTo>
                    <a:pt x="121" y="168"/>
                    <a:pt x="122" y="179"/>
                    <a:pt x="129" y="183"/>
                  </a:cubicBezTo>
                  <a:cubicBezTo>
                    <a:pt x="152" y="199"/>
                    <a:pt x="185" y="168"/>
                    <a:pt x="198" y="150"/>
                  </a:cubicBezTo>
                  <a:cubicBezTo>
                    <a:pt x="200" y="148"/>
                    <a:pt x="191" y="148"/>
                    <a:pt x="189" y="150"/>
                  </a:cubicBezTo>
                  <a:cubicBezTo>
                    <a:pt x="180" y="156"/>
                    <a:pt x="164" y="173"/>
                    <a:pt x="158" y="168"/>
                  </a:cubicBezTo>
                  <a:cubicBezTo>
                    <a:pt x="151" y="161"/>
                    <a:pt x="181" y="102"/>
                    <a:pt x="202" y="68"/>
                  </a:cubicBezTo>
                  <a:cubicBezTo>
                    <a:pt x="216" y="67"/>
                    <a:pt x="233" y="68"/>
                    <a:pt x="242" y="68"/>
                  </a:cubicBezTo>
                  <a:moveTo>
                    <a:pt x="106" y="72"/>
                  </a:moveTo>
                  <a:cubicBezTo>
                    <a:pt x="113" y="74"/>
                    <a:pt x="98" y="102"/>
                    <a:pt x="89" y="111"/>
                  </a:cubicBezTo>
                  <a:cubicBezTo>
                    <a:pt x="71" y="129"/>
                    <a:pt x="50" y="125"/>
                    <a:pt x="50" y="125"/>
                  </a:cubicBezTo>
                  <a:cubicBezTo>
                    <a:pt x="58" y="99"/>
                    <a:pt x="96" y="70"/>
                    <a:pt x="106" y="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1" name="Freeform 22"/>
            <p:cNvSpPr>
              <a:spLocks noEditPoints="1"/>
            </p:cNvSpPr>
            <p:nvPr/>
          </p:nvSpPr>
          <p:spPr bwMode="auto">
            <a:xfrm>
              <a:off x="6613525" y="3644900"/>
              <a:ext cx="636587" cy="688975"/>
            </a:xfrm>
            <a:custGeom>
              <a:avLst/>
              <a:gdLst>
                <a:gd name="T0" fmla="*/ 142 w 170"/>
                <a:gd name="T1" fmla="*/ 22 h 184"/>
                <a:gd name="T2" fmla="*/ 130 w 170"/>
                <a:gd name="T3" fmla="*/ 4 h 184"/>
                <a:gd name="T4" fmla="*/ 44 w 170"/>
                <a:gd name="T5" fmla="*/ 42 h 184"/>
                <a:gd name="T6" fmla="*/ 28 w 170"/>
                <a:gd name="T7" fmla="*/ 120 h 184"/>
                <a:gd name="T8" fmla="*/ 100 w 170"/>
                <a:gd name="T9" fmla="*/ 88 h 184"/>
                <a:gd name="T10" fmla="*/ 78 w 170"/>
                <a:gd name="T11" fmla="*/ 133 h 184"/>
                <a:gd name="T12" fmla="*/ 40 w 170"/>
                <a:gd name="T13" fmla="*/ 166 h 184"/>
                <a:gd name="T14" fmla="*/ 12 w 170"/>
                <a:gd name="T15" fmla="*/ 142 h 184"/>
                <a:gd name="T16" fmla="*/ 0 w 170"/>
                <a:gd name="T17" fmla="*/ 153 h 184"/>
                <a:gd name="T18" fmla="*/ 45 w 170"/>
                <a:gd name="T19" fmla="*/ 180 h 184"/>
                <a:gd name="T20" fmla="*/ 134 w 170"/>
                <a:gd name="T21" fmla="*/ 84 h 184"/>
                <a:gd name="T22" fmla="*/ 167 w 170"/>
                <a:gd name="T23" fmla="*/ 23 h 184"/>
                <a:gd name="T24" fmla="*/ 144 w 170"/>
                <a:gd name="T25" fmla="*/ 19 h 184"/>
                <a:gd name="T26" fmla="*/ 142 w 170"/>
                <a:gd name="T27" fmla="*/ 22 h 184"/>
                <a:gd name="T28" fmla="*/ 123 w 170"/>
                <a:gd name="T29" fmla="*/ 40 h 184"/>
                <a:gd name="T30" fmla="*/ 58 w 170"/>
                <a:gd name="T31" fmla="*/ 92 h 184"/>
                <a:gd name="T32" fmla="*/ 78 w 170"/>
                <a:gd name="T33" fmla="*/ 40 h 184"/>
                <a:gd name="T34" fmla="*/ 123 w 170"/>
                <a:gd name="T35" fmla="*/ 4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84">
                  <a:moveTo>
                    <a:pt x="142" y="22"/>
                  </a:moveTo>
                  <a:cubicBezTo>
                    <a:pt x="142" y="22"/>
                    <a:pt x="141" y="9"/>
                    <a:pt x="130" y="4"/>
                  </a:cubicBezTo>
                  <a:cubicBezTo>
                    <a:pt x="119" y="0"/>
                    <a:pt x="76" y="3"/>
                    <a:pt x="44" y="42"/>
                  </a:cubicBezTo>
                  <a:cubicBezTo>
                    <a:pt x="18" y="75"/>
                    <a:pt x="13" y="104"/>
                    <a:pt x="28" y="120"/>
                  </a:cubicBezTo>
                  <a:cubicBezTo>
                    <a:pt x="39" y="131"/>
                    <a:pt x="69" y="128"/>
                    <a:pt x="100" y="88"/>
                  </a:cubicBezTo>
                  <a:cubicBezTo>
                    <a:pt x="99" y="90"/>
                    <a:pt x="81" y="127"/>
                    <a:pt x="78" y="133"/>
                  </a:cubicBezTo>
                  <a:cubicBezTo>
                    <a:pt x="67" y="152"/>
                    <a:pt x="49" y="165"/>
                    <a:pt x="40" y="166"/>
                  </a:cubicBezTo>
                  <a:cubicBezTo>
                    <a:pt x="17" y="170"/>
                    <a:pt x="13" y="151"/>
                    <a:pt x="12" y="142"/>
                  </a:cubicBezTo>
                  <a:cubicBezTo>
                    <a:pt x="12" y="141"/>
                    <a:pt x="0" y="142"/>
                    <a:pt x="0" y="153"/>
                  </a:cubicBezTo>
                  <a:cubicBezTo>
                    <a:pt x="0" y="168"/>
                    <a:pt x="17" y="184"/>
                    <a:pt x="45" y="180"/>
                  </a:cubicBezTo>
                  <a:cubicBezTo>
                    <a:pt x="94" y="173"/>
                    <a:pt x="112" y="134"/>
                    <a:pt x="134" y="84"/>
                  </a:cubicBezTo>
                  <a:cubicBezTo>
                    <a:pt x="137" y="77"/>
                    <a:pt x="153" y="42"/>
                    <a:pt x="167" y="23"/>
                  </a:cubicBezTo>
                  <a:cubicBezTo>
                    <a:pt x="170" y="20"/>
                    <a:pt x="148" y="15"/>
                    <a:pt x="144" y="19"/>
                  </a:cubicBezTo>
                  <a:lnTo>
                    <a:pt x="142" y="22"/>
                  </a:lnTo>
                  <a:close/>
                  <a:moveTo>
                    <a:pt x="123" y="40"/>
                  </a:moveTo>
                  <a:cubicBezTo>
                    <a:pt x="102" y="72"/>
                    <a:pt x="69" y="109"/>
                    <a:pt x="58" y="92"/>
                  </a:cubicBezTo>
                  <a:cubicBezTo>
                    <a:pt x="54" y="86"/>
                    <a:pt x="56" y="68"/>
                    <a:pt x="78" y="40"/>
                  </a:cubicBezTo>
                  <a:cubicBezTo>
                    <a:pt x="106" y="5"/>
                    <a:pt x="141" y="13"/>
                    <a:pt x="123" y="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2" name="Freeform 23"/>
            <p:cNvSpPr>
              <a:spLocks/>
            </p:cNvSpPr>
            <p:nvPr/>
          </p:nvSpPr>
          <p:spPr bwMode="auto">
            <a:xfrm>
              <a:off x="7723188" y="3400425"/>
              <a:ext cx="303212" cy="584200"/>
            </a:xfrm>
            <a:custGeom>
              <a:avLst/>
              <a:gdLst>
                <a:gd name="T0" fmla="*/ 79 w 81"/>
                <a:gd name="T1" fmla="*/ 18 h 156"/>
                <a:gd name="T2" fmla="*/ 51 w 81"/>
                <a:gd name="T3" fmla="*/ 0 h 156"/>
                <a:gd name="T4" fmla="*/ 6 w 81"/>
                <a:gd name="T5" fmla="*/ 116 h 156"/>
                <a:gd name="T6" fmla="*/ 9 w 81"/>
                <a:gd name="T7" fmla="*/ 152 h 156"/>
                <a:gd name="T8" fmla="*/ 18 w 81"/>
                <a:gd name="T9" fmla="*/ 145 h 156"/>
                <a:gd name="T10" fmla="*/ 75 w 81"/>
                <a:gd name="T11" fmla="*/ 39 h 156"/>
                <a:gd name="T12" fmla="*/ 79 w 81"/>
                <a:gd name="T13" fmla="*/ 1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56">
                  <a:moveTo>
                    <a:pt x="79" y="18"/>
                  </a:moveTo>
                  <a:cubicBezTo>
                    <a:pt x="74" y="11"/>
                    <a:pt x="57" y="2"/>
                    <a:pt x="51" y="0"/>
                  </a:cubicBezTo>
                  <a:cubicBezTo>
                    <a:pt x="39" y="31"/>
                    <a:pt x="20" y="71"/>
                    <a:pt x="6" y="116"/>
                  </a:cubicBezTo>
                  <a:cubicBezTo>
                    <a:pt x="3" y="129"/>
                    <a:pt x="0" y="145"/>
                    <a:pt x="9" y="152"/>
                  </a:cubicBezTo>
                  <a:cubicBezTo>
                    <a:pt x="14" y="156"/>
                    <a:pt x="16" y="150"/>
                    <a:pt x="18" y="145"/>
                  </a:cubicBezTo>
                  <a:cubicBezTo>
                    <a:pt x="37" y="104"/>
                    <a:pt x="73" y="43"/>
                    <a:pt x="75" y="39"/>
                  </a:cubicBezTo>
                  <a:cubicBezTo>
                    <a:pt x="81" y="29"/>
                    <a:pt x="81" y="21"/>
                    <a:pt x="79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3" name="Oval 24"/>
            <p:cNvSpPr>
              <a:spLocks noChangeArrowheads="1"/>
            </p:cNvSpPr>
            <p:nvPr/>
          </p:nvSpPr>
          <p:spPr bwMode="auto">
            <a:xfrm>
              <a:off x="7640638" y="4014788"/>
              <a:ext cx="134937" cy="1317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4" name="Freeform 25"/>
            <p:cNvSpPr>
              <a:spLocks/>
            </p:cNvSpPr>
            <p:nvPr/>
          </p:nvSpPr>
          <p:spPr bwMode="auto">
            <a:xfrm>
              <a:off x="6122988" y="3414713"/>
              <a:ext cx="160337" cy="188913"/>
            </a:xfrm>
            <a:custGeom>
              <a:avLst/>
              <a:gdLst>
                <a:gd name="T0" fmla="*/ 8 w 43"/>
                <a:gd name="T1" fmla="*/ 50 h 50"/>
                <a:gd name="T2" fmla="*/ 43 w 43"/>
                <a:gd name="T3" fmla="*/ 20 h 50"/>
                <a:gd name="T4" fmla="*/ 31 w 43"/>
                <a:gd name="T5" fmla="*/ 4 h 50"/>
                <a:gd name="T6" fmla="*/ 20 w 43"/>
                <a:gd name="T7" fmla="*/ 35 h 50"/>
                <a:gd name="T8" fmla="*/ 3 w 43"/>
                <a:gd name="T9" fmla="*/ 46 h 50"/>
                <a:gd name="T10" fmla="*/ 8 w 43"/>
                <a:gd name="T1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50">
                  <a:moveTo>
                    <a:pt x="8" y="50"/>
                  </a:moveTo>
                  <a:cubicBezTo>
                    <a:pt x="25" y="50"/>
                    <a:pt x="40" y="41"/>
                    <a:pt x="43" y="20"/>
                  </a:cubicBezTo>
                  <a:cubicBezTo>
                    <a:pt x="43" y="18"/>
                    <a:pt x="43" y="6"/>
                    <a:pt x="31" y="4"/>
                  </a:cubicBezTo>
                  <a:cubicBezTo>
                    <a:pt x="7" y="0"/>
                    <a:pt x="2" y="30"/>
                    <a:pt x="20" y="35"/>
                  </a:cubicBezTo>
                  <a:cubicBezTo>
                    <a:pt x="17" y="42"/>
                    <a:pt x="10" y="44"/>
                    <a:pt x="3" y="46"/>
                  </a:cubicBezTo>
                  <a:cubicBezTo>
                    <a:pt x="0" y="47"/>
                    <a:pt x="5" y="50"/>
                    <a:pt x="8" y="5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5" name="Freeform 26"/>
            <p:cNvSpPr>
              <a:spLocks noEditPoints="1"/>
            </p:cNvSpPr>
            <p:nvPr/>
          </p:nvSpPr>
          <p:spPr bwMode="auto">
            <a:xfrm>
              <a:off x="7018338" y="3562350"/>
              <a:ext cx="787400" cy="647700"/>
            </a:xfrm>
            <a:custGeom>
              <a:avLst/>
              <a:gdLst>
                <a:gd name="T0" fmla="*/ 158 w 210"/>
                <a:gd name="T1" fmla="*/ 37 h 173"/>
                <a:gd name="T2" fmla="*/ 71 w 210"/>
                <a:gd name="T3" fmla="*/ 154 h 173"/>
                <a:gd name="T4" fmla="*/ 158 w 210"/>
                <a:gd name="T5" fmla="*/ 37 h 173"/>
                <a:gd name="T6" fmla="*/ 132 w 210"/>
                <a:gd name="T7" fmla="*/ 102 h 173"/>
                <a:gd name="T8" fmla="*/ 120 w 210"/>
                <a:gd name="T9" fmla="*/ 119 h 173"/>
                <a:gd name="T10" fmla="*/ 106 w 210"/>
                <a:gd name="T11" fmla="*/ 132 h 173"/>
                <a:gd name="T12" fmla="*/ 84 w 210"/>
                <a:gd name="T13" fmla="*/ 141 h 173"/>
                <a:gd name="T14" fmla="*/ 90 w 210"/>
                <a:gd name="T15" fmla="*/ 81 h 173"/>
                <a:gd name="T16" fmla="*/ 143 w 210"/>
                <a:gd name="T17" fmla="*/ 41 h 173"/>
                <a:gd name="T18" fmla="*/ 132 w 210"/>
                <a:gd name="T19" fmla="*/ 10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0" h="173">
                  <a:moveTo>
                    <a:pt x="158" y="37"/>
                  </a:moveTo>
                  <a:cubicBezTo>
                    <a:pt x="74" y="0"/>
                    <a:pt x="0" y="135"/>
                    <a:pt x="71" y="154"/>
                  </a:cubicBezTo>
                  <a:cubicBezTo>
                    <a:pt x="138" y="173"/>
                    <a:pt x="210" y="60"/>
                    <a:pt x="158" y="37"/>
                  </a:cubicBezTo>
                  <a:moveTo>
                    <a:pt x="132" y="102"/>
                  </a:moveTo>
                  <a:cubicBezTo>
                    <a:pt x="129" y="107"/>
                    <a:pt x="125" y="113"/>
                    <a:pt x="120" y="119"/>
                  </a:cubicBezTo>
                  <a:cubicBezTo>
                    <a:pt x="114" y="124"/>
                    <a:pt x="110" y="129"/>
                    <a:pt x="106" y="132"/>
                  </a:cubicBezTo>
                  <a:cubicBezTo>
                    <a:pt x="98" y="137"/>
                    <a:pt x="91" y="141"/>
                    <a:pt x="84" y="141"/>
                  </a:cubicBezTo>
                  <a:cubicBezTo>
                    <a:pt x="67" y="140"/>
                    <a:pt x="70" y="108"/>
                    <a:pt x="90" y="81"/>
                  </a:cubicBezTo>
                  <a:cubicBezTo>
                    <a:pt x="105" y="59"/>
                    <a:pt x="127" y="34"/>
                    <a:pt x="143" y="41"/>
                  </a:cubicBezTo>
                  <a:cubicBezTo>
                    <a:pt x="155" y="47"/>
                    <a:pt x="148" y="74"/>
                    <a:pt x="132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702157" y="1181100"/>
            <a:ext cx="727473" cy="996950"/>
            <a:chOff x="4936" y="176"/>
            <a:chExt cx="423" cy="628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dirty="0">
                <a:solidFill>
                  <a:srgbClr val="6C6F7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dirty="0">
                <a:solidFill>
                  <a:srgbClr val="6C6F7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dirty="0">
                <a:solidFill>
                  <a:srgbClr val="6C6F70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 dirty="0">
                <a:solidFill>
                  <a:srgbClr val="6C6F70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368513" y="1181100"/>
            <a:ext cx="1061114" cy="730250"/>
            <a:chOff x="4750" y="176"/>
            <a:chExt cx="617" cy="46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Calibri" pitchFamily="34" charset="0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Calibri" pitchFamily="34" charset="0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Calibri" pitchFamily="34" charset="0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</p:grpSp>
      <p:grpSp>
        <p:nvGrpSpPr>
          <p:cNvPr id="42" name="McKSticker" hidden="1"/>
          <p:cNvGrpSpPr>
            <a:grpSpLocks/>
          </p:cNvGrpSpPr>
          <p:nvPr/>
        </p:nvGrpSpPr>
        <p:grpSpPr bwMode="auto">
          <a:xfrm>
            <a:off x="8577109" y="1181100"/>
            <a:ext cx="886909" cy="212366"/>
            <a:chOff x="7921298" y="285750"/>
            <a:chExt cx="819477" cy="213241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921298" y="285750"/>
              <a:ext cx="819477" cy="21324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r"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808080"/>
                  </a:solidFill>
                  <a:latin typeface="Calibri" pitchFamily="34" charset="0"/>
                  <a:cs typeface="Calibri" pitchFamily="34" charset="0"/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</p:cNvCxnSpPr>
            <p:nvPr/>
          </p:nvCxnSpPr>
          <p:spPr bwMode="auto">
            <a:xfrm>
              <a:off x="792416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</p:cNvCxnSpPr>
            <p:nvPr/>
          </p:nvCxnSpPr>
          <p:spPr bwMode="auto">
            <a:xfrm>
              <a:off x="7924161" y="498116"/>
              <a:ext cx="81661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>
            <a:grpSpLocks/>
          </p:cNvGrpSpPr>
          <p:nvPr/>
        </p:nvGrpSpPr>
        <p:grpSpPr bwMode="auto">
          <a:xfrm>
            <a:off x="8631640" y="1181103"/>
            <a:ext cx="799370" cy="1306513"/>
            <a:chOff x="6655594" y="273840"/>
            <a:chExt cx="737587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6976142" y="286540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6976142" y="561179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6976142" y="835816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6976142" y="1107280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6976142" y="1383506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sz="1200" dirty="0">
                  <a:solidFill>
                    <a:srgbClr val="6C6F70"/>
                  </a:solidFill>
                  <a:latin typeface="Calibri" pitchFamily="34" charset="0"/>
                  <a:cs typeface="Calibri" pitchFamily="34" charset="0"/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</p:grpSp>
      <p:sp>
        <p:nvSpPr>
          <p:cNvPr id="67" name="Slide Number"/>
          <p:cNvSpPr txBox="1">
            <a:spLocks/>
          </p:cNvSpPr>
          <p:nvPr userDrawn="1"/>
        </p:nvSpPr>
        <p:spPr bwMode="auto">
          <a:xfrm>
            <a:off x="9614775" y="6581825"/>
            <a:ext cx="15078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95B5B332-45AB-4E22-9032-5D833A0C133F}" type="slidenum">
              <a:rPr lang="en-US" smtClean="0">
                <a:solidFill>
                  <a:srgbClr val="6C6F70"/>
                </a:solidFill>
                <a:cs typeface="+mn-cs"/>
              </a:rPr>
              <a:pPr algn="ctr">
                <a:defRPr/>
              </a:pPr>
              <a:t>‹#›</a:t>
            </a:fld>
            <a:endParaRPr lang="en-US" dirty="0">
              <a:solidFill>
                <a:srgbClr val="6C6F70"/>
              </a:solidFill>
              <a:cs typeface="+mn-cs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745702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3B4B30-6BBF-487F-AA55-20057BBB4785}" type="datetime1">
              <a:rPr lang="en-US"/>
              <a:pPr>
                <a:defRPr/>
              </a:pPr>
              <a:t>5/24/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86DCDB-D68B-4C1A-9C64-D21E3B7E2AA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5481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5F97D0-B7A4-48EB-9683-A813814B0825}" type="datetime1">
              <a:rPr lang="en-US"/>
              <a:pPr>
                <a:defRPr/>
              </a:pPr>
              <a:t>5/24/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DA561D-E867-4A66-89CE-966768A5029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8740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22" y="1591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46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2" y="1591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44" descr="F:\00_eldorado\Thomas Cook\07 TCLC 09.2013\00 brand design\images\images plc\120dpi\VSMVMLE1151.jpg"/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uppieren 27"/>
          <p:cNvGrpSpPr>
            <a:grpSpLocks noChangeAspect="1"/>
          </p:cNvGrpSpPr>
          <p:nvPr userDrawn="1"/>
        </p:nvGrpSpPr>
        <p:grpSpPr>
          <a:xfrm>
            <a:off x="448501" y="6414830"/>
            <a:ext cx="975000" cy="256646"/>
            <a:chOff x="4741863" y="3397250"/>
            <a:chExt cx="3284537" cy="936625"/>
          </a:xfrm>
          <a:solidFill>
            <a:schemeClr val="bg1"/>
          </a:solidFill>
        </p:grpSpPr>
        <p:sp>
          <p:nvSpPr>
            <p:cNvPr id="8" name="Freeform 19"/>
            <p:cNvSpPr>
              <a:spLocks/>
            </p:cNvSpPr>
            <p:nvPr/>
          </p:nvSpPr>
          <p:spPr bwMode="auto">
            <a:xfrm>
              <a:off x="6073775" y="3670300"/>
              <a:ext cx="457200" cy="490538"/>
            </a:xfrm>
            <a:custGeom>
              <a:avLst/>
              <a:gdLst>
                <a:gd name="T0" fmla="*/ 92 w 122"/>
                <a:gd name="T1" fmla="*/ 0 h 131"/>
                <a:gd name="T2" fmla="*/ 35 w 122"/>
                <a:gd name="T3" fmla="*/ 28 h 131"/>
                <a:gd name="T4" fmla="*/ 25 w 122"/>
                <a:gd name="T5" fmla="*/ 43 h 131"/>
                <a:gd name="T6" fmla="*/ 45 w 122"/>
                <a:gd name="T7" fmla="*/ 86 h 131"/>
                <a:gd name="T8" fmla="*/ 60 w 122"/>
                <a:gd name="T9" fmla="*/ 99 h 131"/>
                <a:gd name="T10" fmla="*/ 60 w 122"/>
                <a:gd name="T11" fmla="*/ 109 h 131"/>
                <a:gd name="T12" fmla="*/ 17 w 122"/>
                <a:gd name="T13" fmla="*/ 111 h 131"/>
                <a:gd name="T14" fmla="*/ 2 w 122"/>
                <a:gd name="T15" fmla="*/ 101 h 131"/>
                <a:gd name="T16" fmla="*/ 1 w 122"/>
                <a:gd name="T17" fmla="*/ 103 h 131"/>
                <a:gd name="T18" fmla="*/ 2 w 122"/>
                <a:gd name="T19" fmla="*/ 109 h 131"/>
                <a:gd name="T20" fmla="*/ 12 w 122"/>
                <a:gd name="T21" fmla="*/ 119 h 131"/>
                <a:gd name="T22" fmla="*/ 64 w 122"/>
                <a:gd name="T23" fmla="*/ 129 h 131"/>
                <a:gd name="T24" fmla="*/ 80 w 122"/>
                <a:gd name="T25" fmla="*/ 84 h 131"/>
                <a:gd name="T26" fmla="*/ 62 w 122"/>
                <a:gd name="T27" fmla="*/ 46 h 131"/>
                <a:gd name="T28" fmla="*/ 72 w 122"/>
                <a:gd name="T29" fmla="*/ 31 h 131"/>
                <a:gd name="T30" fmla="*/ 110 w 122"/>
                <a:gd name="T31" fmla="*/ 26 h 131"/>
                <a:gd name="T32" fmla="*/ 112 w 122"/>
                <a:gd name="T33" fmla="*/ 34 h 131"/>
                <a:gd name="T34" fmla="*/ 121 w 122"/>
                <a:gd name="T35" fmla="*/ 36 h 131"/>
                <a:gd name="T36" fmla="*/ 121 w 122"/>
                <a:gd name="T37" fmla="*/ 21 h 131"/>
                <a:gd name="T38" fmla="*/ 92 w 122"/>
                <a:gd name="T39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2" h="131">
                  <a:moveTo>
                    <a:pt x="92" y="0"/>
                  </a:moveTo>
                  <a:cubicBezTo>
                    <a:pt x="71" y="0"/>
                    <a:pt x="49" y="12"/>
                    <a:pt x="35" y="28"/>
                  </a:cubicBezTo>
                  <a:cubicBezTo>
                    <a:pt x="31" y="32"/>
                    <a:pt x="27" y="38"/>
                    <a:pt x="25" y="43"/>
                  </a:cubicBezTo>
                  <a:cubicBezTo>
                    <a:pt x="17" y="61"/>
                    <a:pt x="31" y="78"/>
                    <a:pt x="45" y="86"/>
                  </a:cubicBezTo>
                  <a:cubicBezTo>
                    <a:pt x="51" y="89"/>
                    <a:pt x="57" y="93"/>
                    <a:pt x="60" y="99"/>
                  </a:cubicBezTo>
                  <a:cubicBezTo>
                    <a:pt x="61" y="102"/>
                    <a:pt x="61" y="106"/>
                    <a:pt x="60" y="109"/>
                  </a:cubicBezTo>
                  <a:cubicBezTo>
                    <a:pt x="52" y="119"/>
                    <a:pt x="24" y="114"/>
                    <a:pt x="17" y="111"/>
                  </a:cubicBezTo>
                  <a:cubicBezTo>
                    <a:pt x="11" y="108"/>
                    <a:pt x="7" y="104"/>
                    <a:pt x="2" y="101"/>
                  </a:cubicBezTo>
                  <a:cubicBezTo>
                    <a:pt x="2" y="101"/>
                    <a:pt x="1" y="101"/>
                    <a:pt x="1" y="103"/>
                  </a:cubicBezTo>
                  <a:cubicBezTo>
                    <a:pt x="0" y="105"/>
                    <a:pt x="0" y="107"/>
                    <a:pt x="2" y="109"/>
                  </a:cubicBezTo>
                  <a:cubicBezTo>
                    <a:pt x="4" y="113"/>
                    <a:pt x="8" y="116"/>
                    <a:pt x="12" y="119"/>
                  </a:cubicBezTo>
                  <a:cubicBezTo>
                    <a:pt x="27" y="128"/>
                    <a:pt x="46" y="131"/>
                    <a:pt x="64" y="129"/>
                  </a:cubicBezTo>
                  <a:cubicBezTo>
                    <a:pt x="93" y="125"/>
                    <a:pt x="97" y="100"/>
                    <a:pt x="80" y="84"/>
                  </a:cubicBezTo>
                  <a:cubicBezTo>
                    <a:pt x="67" y="73"/>
                    <a:pt x="55" y="65"/>
                    <a:pt x="62" y="46"/>
                  </a:cubicBezTo>
                  <a:cubicBezTo>
                    <a:pt x="64" y="40"/>
                    <a:pt x="68" y="35"/>
                    <a:pt x="72" y="31"/>
                  </a:cubicBezTo>
                  <a:cubicBezTo>
                    <a:pt x="80" y="23"/>
                    <a:pt x="107" y="7"/>
                    <a:pt x="110" y="26"/>
                  </a:cubicBezTo>
                  <a:cubicBezTo>
                    <a:pt x="110" y="30"/>
                    <a:pt x="110" y="31"/>
                    <a:pt x="112" y="34"/>
                  </a:cubicBezTo>
                  <a:cubicBezTo>
                    <a:pt x="113" y="36"/>
                    <a:pt x="118" y="39"/>
                    <a:pt x="121" y="36"/>
                  </a:cubicBezTo>
                  <a:cubicBezTo>
                    <a:pt x="121" y="36"/>
                    <a:pt x="122" y="25"/>
                    <a:pt x="121" y="21"/>
                  </a:cubicBezTo>
                  <a:cubicBezTo>
                    <a:pt x="118" y="10"/>
                    <a:pt x="97" y="0"/>
                    <a:pt x="9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+mn-cs"/>
              </a:endParaRPr>
            </a:p>
          </p:txBody>
        </p:sp>
        <p:sp>
          <p:nvSpPr>
            <p:cNvPr id="9" name="Freeform 20"/>
            <p:cNvSpPr>
              <a:spLocks/>
            </p:cNvSpPr>
            <p:nvPr/>
          </p:nvSpPr>
          <p:spPr bwMode="auto">
            <a:xfrm>
              <a:off x="4741863" y="3397250"/>
              <a:ext cx="522287" cy="793750"/>
            </a:xfrm>
            <a:custGeom>
              <a:avLst/>
              <a:gdLst>
                <a:gd name="T0" fmla="*/ 122 w 139"/>
                <a:gd name="T1" fmla="*/ 186 h 212"/>
                <a:gd name="T2" fmla="*/ 41 w 139"/>
                <a:gd name="T3" fmla="*/ 190 h 212"/>
                <a:gd name="T4" fmla="*/ 115 w 139"/>
                <a:gd name="T5" fmla="*/ 58 h 212"/>
                <a:gd name="T6" fmla="*/ 132 w 139"/>
                <a:gd name="T7" fmla="*/ 25 h 212"/>
                <a:gd name="T8" fmla="*/ 131 w 139"/>
                <a:gd name="T9" fmla="*/ 17 h 212"/>
                <a:gd name="T10" fmla="*/ 118 w 139"/>
                <a:gd name="T11" fmla="*/ 0 h 212"/>
                <a:gd name="T12" fmla="*/ 114 w 139"/>
                <a:gd name="T13" fmla="*/ 1 h 212"/>
                <a:gd name="T14" fmla="*/ 101 w 139"/>
                <a:gd name="T15" fmla="*/ 18 h 212"/>
                <a:gd name="T16" fmla="*/ 50 w 139"/>
                <a:gd name="T17" fmla="*/ 92 h 212"/>
                <a:gd name="T18" fmla="*/ 29 w 139"/>
                <a:gd name="T19" fmla="*/ 128 h 212"/>
                <a:gd name="T20" fmla="*/ 6 w 139"/>
                <a:gd name="T21" fmla="*/ 172 h 212"/>
                <a:gd name="T22" fmla="*/ 23 w 139"/>
                <a:gd name="T23" fmla="*/ 208 h 212"/>
                <a:gd name="T24" fmla="*/ 31 w 139"/>
                <a:gd name="T25" fmla="*/ 212 h 212"/>
                <a:gd name="T26" fmla="*/ 136 w 139"/>
                <a:gd name="T27" fmla="*/ 198 h 212"/>
                <a:gd name="T28" fmla="*/ 122 w 139"/>
                <a:gd name="T29" fmla="*/ 186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9" h="212">
                  <a:moveTo>
                    <a:pt x="122" y="186"/>
                  </a:moveTo>
                  <a:cubicBezTo>
                    <a:pt x="97" y="180"/>
                    <a:pt x="64" y="188"/>
                    <a:pt x="41" y="190"/>
                  </a:cubicBezTo>
                  <a:cubicBezTo>
                    <a:pt x="61" y="154"/>
                    <a:pt x="96" y="91"/>
                    <a:pt x="115" y="58"/>
                  </a:cubicBezTo>
                  <a:cubicBezTo>
                    <a:pt x="120" y="49"/>
                    <a:pt x="128" y="34"/>
                    <a:pt x="132" y="25"/>
                  </a:cubicBezTo>
                  <a:cubicBezTo>
                    <a:pt x="132" y="25"/>
                    <a:pt x="134" y="22"/>
                    <a:pt x="131" y="17"/>
                  </a:cubicBezTo>
                  <a:cubicBezTo>
                    <a:pt x="130" y="12"/>
                    <a:pt x="119" y="2"/>
                    <a:pt x="118" y="0"/>
                  </a:cubicBezTo>
                  <a:cubicBezTo>
                    <a:pt x="117" y="0"/>
                    <a:pt x="115" y="0"/>
                    <a:pt x="114" y="1"/>
                  </a:cubicBezTo>
                  <a:cubicBezTo>
                    <a:pt x="110" y="6"/>
                    <a:pt x="102" y="15"/>
                    <a:pt x="101" y="18"/>
                  </a:cubicBezTo>
                  <a:cubicBezTo>
                    <a:pt x="97" y="22"/>
                    <a:pt x="59" y="78"/>
                    <a:pt x="50" y="92"/>
                  </a:cubicBezTo>
                  <a:cubicBezTo>
                    <a:pt x="47" y="98"/>
                    <a:pt x="32" y="121"/>
                    <a:pt x="29" y="128"/>
                  </a:cubicBezTo>
                  <a:cubicBezTo>
                    <a:pt x="19" y="146"/>
                    <a:pt x="12" y="159"/>
                    <a:pt x="6" y="172"/>
                  </a:cubicBezTo>
                  <a:cubicBezTo>
                    <a:pt x="0" y="192"/>
                    <a:pt x="16" y="203"/>
                    <a:pt x="23" y="208"/>
                  </a:cubicBezTo>
                  <a:cubicBezTo>
                    <a:pt x="23" y="208"/>
                    <a:pt x="28" y="212"/>
                    <a:pt x="31" y="212"/>
                  </a:cubicBezTo>
                  <a:cubicBezTo>
                    <a:pt x="45" y="212"/>
                    <a:pt x="106" y="198"/>
                    <a:pt x="136" y="198"/>
                  </a:cubicBezTo>
                  <a:cubicBezTo>
                    <a:pt x="139" y="197"/>
                    <a:pt x="130" y="191"/>
                    <a:pt x="122" y="18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+mn-cs"/>
              </a:endParaRPr>
            </a:p>
          </p:txBody>
        </p:sp>
        <p:sp>
          <p:nvSpPr>
            <p:cNvPr id="10" name="Freeform 21"/>
            <p:cNvSpPr>
              <a:spLocks noEditPoints="1"/>
            </p:cNvSpPr>
            <p:nvPr/>
          </p:nvSpPr>
          <p:spPr bwMode="auto">
            <a:xfrm>
              <a:off x="5222875" y="3449638"/>
              <a:ext cx="917575" cy="752475"/>
            </a:xfrm>
            <a:custGeom>
              <a:avLst/>
              <a:gdLst>
                <a:gd name="T0" fmla="*/ 242 w 245"/>
                <a:gd name="T1" fmla="*/ 68 h 201"/>
                <a:gd name="T2" fmla="*/ 243 w 245"/>
                <a:gd name="T3" fmla="*/ 64 h 201"/>
                <a:gd name="T4" fmla="*/ 209 w 245"/>
                <a:gd name="T5" fmla="*/ 58 h 201"/>
                <a:gd name="T6" fmla="*/ 223 w 245"/>
                <a:gd name="T7" fmla="*/ 35 h 201"/>
                <a:gd name="T8" fmla="*/ 224 w 245"/>
                <a:gd name="T9" fmla="*/ 21 h 201"/>
                <a:gd name="T10" fmla="*/ 207 w 245"/>
                <a:gd name="T11" fmla="*/ 1 h 201"/>
                <a:gd name="T12" fmla="*/ 203 w 245"/>
                <a:gd name="T13" fmla="*/ 2 h 201"/>
                <a:gd name="T14" fmla="*/ 202 w 245"/>
                <a:gd name="T15" fmla="*/ 8 h 201"/>
                <a:gd name="T16" fmla="*/ 172 w 245"/>
                <a:gd name="T17" fmla="*/ 58 h 201"/>
                <a:gd name="T18" fmla="*/ 142 w 245"/>
                <a:gd name="T19" fmla="*/ 58 h 201"/>
                <a:gd name="T20" fmla="*/ 139 w 245"/>
                <a:gd name="T21" fmla="*/ 61 h 201"/>
                <a:gd name="T22" fmla="*/ 145 w 245"/>
                <a:gd name="T23" fmla="*/ 68 h 201"/>
                <a:gd name="T24" fmla="*/ 166 w 245"/>
                <a:gd name="T25" fmla="*/ 68 h 201"/>
                <a:gd name="T26" fmla="*/ 134 w 245"/>
                <a:gd name="T27" fmla="*/ 124 h 201"/>
                <a:gd name="T28" fmla="*/ 126 w 245"/>
                <a:gd name="T29" fmla="*/ 137 h 201"/>
                <a:gd name="T30" fmla="*/ 52 w 245"/>
                <a:gd name="T31" fmla="*/ 166 h 201"/>
                <a:gd name="T32" fmla="*/ 48 w 245"/>
                <a:gd name="T33" fmla="*/ 134 h 201"/>
                <a:gd name="T34" fmla="*/ 91 w 245"/>
                <a:gd name="T35" fmla="*/ 132 h 201"/>
                <a:gd name="T36" fmla="*/ 116 w 245"/>
                <a:gd name="T37" fmla="*/ 65 h 201"/>
                <a:gd name="T38" fmla="*/ 40 w 245"/>
                <a:gd name="T39" fmla="*/ 89 h 201"/>
                <a:gd name="T40" fmla="*/ 28 w 245"/>
                <a:gd name="T41" fmla="*/ 187 h 201"/>
                <a:gd name="T42" fmla="*/ 122 w 245"/>
                <a:gd name="T43" fmla="*/ 154 h 201"/>
                <a:gd name="T44" fmla="*/ 121 w 245"/>
                <a:gd name="T45" fmla="*/ 161 h 201"/>
                <a:gd name="T46" fmla="*/ 129 w 245"/>
                <a:gd name="T47" fmla="*/ 183 h 201"/>
                <a:gd name="T48" fmla="*/ 198 w 245"/>
                <a:gd name="T49" fmla="*/ 150 h 201"/>
                <a:gd name="T50" fmla="*/ 189 w 245"/>
                <a:gd name="T51" fmla="*/ 150 h 201"/>
                <a:gd name="T52" fmla="*/ 158 w 245"/>
                <a:gd name="T53" fmla="*/ 168 h 201"/>
                <a:gd name="T54" fmla="*/ 202 w 245"/>
                <a:gd name="T55" fmla="*/ 68 h 201"/>
                <a:gd name="T56" fmla="*/ 242 w 245"/>
                <a:gd name="T57" fmla="*/ 68 h 201"/>
                <a:gd name="T58" fmla="*/ 106 w 245"/>
                <a:gd name="T59" fmla="*/ 72 h 201"/>
                <a:gd name="T60" fmla="*/ 89 w 245"/>
                <a:gd name="T61" fmla="*/ 111 h 201"/>
                <a:gd name="T62" fmla="*/ 50 w 245"/>
                <a:gd name="T63" fmla="*/ 125 h 201"/>
                <a:gd name="T64" fmla="*/ 106 w 245"/>
                <a:gd name="T65" fmla="*/ 72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5" h="201">
                  <a:moveTo>
                    <a:pt x="242" y="68"/>
                  </a:moveTo>
                  <a:cubicBezTo>
                    <a:pt x="243" y="68"/>
                    <a:pt x="245" y="66"/>
                    <a:pt x="243" y="64"/>
                  </a:cubicBezTo>
                  <a:cubicBezTo>
                    <a:pt x="239" y="59"/>
                    <a:pt x="225" y="58"/>
                    <a:pt x="209" y="58"/>
                  </a:cubicBezTo>
                  <a:cubicBezTo>
                    <a:pt x="212" y="52"/>
                    <a:pt x="221" y="39"/>
                    <a:pt x="223" y="35"/>
                  </a:cubicBezTo>
                  <a:cubicBezTo>
                    <a:pt x="226" y="28"/>
                    <a:pt x="226" y="24"/>
                    <a:pt x="224" y="21"/>
                  </a:cubicBezTo>
                  <a:cubicBezTo>
                    <a:pt x="220" y="16"/>
                    <a:pt x="208" y="3"/>
                    <a:pt x="207" y="1"/>
                  </a:cubicBezTo>
                  <a:cubicBezTo>
                    <a:pt x="205" y="0"/>
                    <a:pt x="203" y="0"/>
                    <a:pt x="203" y="2"/>
                  </a:cubicBezTo>
                  <a:cubicBezTo>
                    <a:pt x="203" y="5"/>
                    <a:pt x="203" y="6"/>
                    <a:pt x="202" y="8"/>
                  </a:cubicBezTo>
                  <a:cubicBezTo>
                    <a:pt x="200" y="13"/>
                    <a:pt x="172" y="58"/>
                    <a:pt x="172" y="58"/>
                  </a:cubicBezTo>
                  <a:cubicBezTo>
                    <a:pt x="142" y="58"/>
                    <a:pt x="142" y="58"/>
                    <a:pt x="142" y="58"/>
                  </a:cubicBezTo>
                  <a:cubicBezTo>
                    <a:pt x="142" y="58"/>
                    <a:pt x="138" y="58"/>
                    <a:pt x="139" y="61"/>
                  </a:cubicBezTo>
                  <a:cubicBezTo>
                    <a:pt x="140" y="64"/>
                    <a:pt x="145" y="68"/>
                    <a:pt x="145" y="68"/>
                  </a:cubicBezTo>
                  <a:cubicBezTo>
                    <a:pt x="154" y="68"/>
                    <a:pt x="166" y="68"/>
                    <a:pt x="166" y="68"/>
                  </a:cubicBezTo>
                  <a:cubicBezTo>
                    <a:pt x="166" y="68"/>
                    <a:pt x="145" y="106"/>
                    <a:pt x="134" y="124"/>
                  </a:cubicBezTo>
                  <a:cubicBezTo>
                    <a:pt x="132" y="128"/>
                    <a:pt x="130" y="133"/>
                    <a:pt x="126" y="137"/>
                  </a:cubicBezTo>
                  <a:cubicBezTo>
                    <a:pt x="117" y="147"/>
                    <a:pt x="82" y="182"/>
                    <a:pt x="52" y="166"/>
                  </a:cubicBezTo>
                  <a:cubicBezTo>
                    <a:pt x="43" y="161"/>
                    <a:pt x="44" y="145"/>
                    <a:pt x="48" y="134"/>
                  </a:cubicBezTo>
                  <a:cubicBezTo>
                    <a:pt x="48" y="134"/>
                    <a:pt x="68" y="145"/>
                    <a:pt x="91" y="132"/>
                  </a:cubicBezTo>
                  <a:cubicBezTo>
                    <a:pt x="124" y="113"/>
                    <a:pt x="142" y="78"/>
                    <a:pt x="116" y="65"/>
                  </a:cubicBezTo>
                  <a:cubicBezTo>
                    <a:pt x="91" y="53"/>
                    <a:pt x="64" y="65"/>
                    <a:pt x="40" y="89"/>
                  </a:cubicBezTo>
                  <a:cubicBezTo>
                    <a:pt x="5" y="126"/>
                    <a:pt x="0" y="175"/>
                    <a:pt x="28" y="187"/>
                  </a:cubicBezTo>
                  <a:cubicBezTo>
                    <a:pt x="59" y="201"/>
                    <a:pt x="99" y="179"/>
                    <a:pt x="122" y="154"/>
                  </a:cubicBezTo>
                  <a:cubicBezTo>
                    <a:pt x="121" y="156"/>
                    <a:pt x="121" y="159"/>
                    <a:pt x="121" y="161"/>
                  </a:cubicBezTo>
                  <a:cubicBezTo>
                    <a:pt x="121" y="168"/>
                    <a:pt x="122" y="179"/>
                    <a:pt x="129" y="183"/>
                  </a:cubicBezTo>
                  <a:cubicBezTo>
                    <a:pt x="152" y="199"/>
                    <a:pt x="185" y="168"/>
                    <a:pt x="198" y="150"/>
                  </a:cubicBezTo>
                  <a:cubicBezTo>
                    <a:pt x="200" y="148"/>
                    <a:pt x="191" y="148"/>
                    <a:pt x="189" y="150"/>
                  </a:cubicBezTo>
                  <a:cubicBezTo>
                    <a:pt x="180" y="156"/>
                    <a:pt x="164" y="173"/>
                    <a:pt x="158" y="168"/>
                  </a:cubicBezTo>
                  <a:cubicBezTo>
                    <a:pt x="151" y="161"/>
                    <a:pt x="181" y="102"/>
                    <a:pt x="202" y="68"/>
                  </a:cubicBezTo>
                  <a:cubicBezTo>
                    <a:pt x="216" y="67"/>
                    <a:pt x="233" y="68"/>
                    <a:pt x="242" y="68"/>
                  </a:cubicBezTo>
                  <a:moveTo>
                    <a:pt x="106" y="72"/>
                  </a:moveTo>
                  <a:cubicBezTo>
                    <a:pt x="113" y="74"/>
                    <a:pt x="98" y="102"/>
                    <a:pt x="89" y="111"/>
                  </a:cubicBezTo>
                  <a:cubicBezTo>
                    <a:pt x="71" y="129"/>
                    <a:pt x="50" y="125"/>
                    <a:pt x="50" y="125"/>
                  </a:cubicBezTo>
                  <a:cubicBezTo>
                    <a:pt x="58" y="99"/>
                    <a:pt x="96" y="70"/>
                    <a:pt x="106" y="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+mn-cs"/>
              </a:endParaRPr>
            </a:p>
          </p:txBody>
        </p:sp>
        <p:sp>
          <p:nvSpPr>
            <p:cNvPr id="11" name="Freeform 22"/>
            <p:cNvSpPr>
              <a:spLocks noEditPoints="1"/>
            </p:cNvSpPr>
            <p:nvPr/>
          </p:nvSpPr>
          <p:spPr bwMode="auto">
            <a:xfrm>
              <a:off x="6613525" y="3644900"/>
              <a:ext cx="636587" cy="688975"/>
            </a:xfrm>
            <a:custGeom>
              <a:avLst/>
              <a:gdLst>
                <a:gd name="T0" fmla="*/ 142 w 170"/>
                <a:gd name="T1" fmla="*/ 22 h 184"/>
                <a:gd name="T2" fmla="*/ 130 w 170"/>
                <a:gd name="T3" fmla="*/ 4 h 184"/>
                <a:gd name="T4" fmla="*/ 44 w 170"/>
                <a:gd name="T5" fmla="*/ 42 h 184"/>
                <a:gd name="T6" fmla="*/ 28 w 170"/>
                <a:gd name="T7" fmla="*/ 120 h 184"/>
                <a:gd name="T8" fmla="*/ 100 w 170"/>
                <a:gd name="T9" fmla="*/ 88 h 184"/>
                <a:gd name="T10" fmla="*/ 78 w 170"/>
                <a:gd name="T11" fmla="*/ 133 h 184"/>
                <a:gd name="T12" fmla="*/ 40 w 170"/>
                <a:gd name="T13" fmla="*/ 166 h 184"/>
                <a:gd name="T14" fmla="*/ 12 w 170"/>
                <a:gd name="T15" fmla="*/ 142 h 184"/>
                <a:gd name="T16" fmla="*/ 0 w 170"/>
                <a:gd name="T17" fmla="*/ 153 h 184"/>
                <a:gd name="T18" fmla="*/ 45 w 170"/>
                <a:gd name="T19" fmla="*/ 180 h 184"/>
                <a:gd name="T20" fmla="*/ 134 w 170"/>
                <a:gd name="T21" fmla="*/ 84 h 184"/>
                <a:gd name="T22" fmla="*/ 167 w 170"/>
                <a:gd name="T23" fmla="*/ 23 h 184"/>
                <a:gd name="T24" fmla="*/ 144 w 170"/>
                <a:gd name="T25" fmla="*/ 19 h 184"/>
                <a:gd name="T26" fmla="*/ 142 w 170"/>
                <a:gd name="T27" fmla="*/ 22 h 184"/>
                <a:gd name="T28" fmla="*/ 123 w 170"/>
                <a:gd name="T29" fmla="*/ 40 h 184"/>
                <a:gd name="T30" fmla="*/ 58 w 170"/>
                <a:gd name="T31" fmla="*/ 92 h 184"/>
                <a:gd name="T32" fmla="*/ 78 w 170"/>
                <a:gd name="T33" fmla="*/ 40 h 184"/>
                <a:gd name="T34" fmla="*/ 123 w 170"/>
                <a:gd name="T35" fmla="*/ 4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84">
                  <a:moveTo>
                    <a:pt x="142" y="22"/>
                  </a:moveTo>
                  <a:cubicBezTo>
                    <a:pt x="142" y="22"/>
                    <a:pt x="141" y="9"/>
                    <a:pt x="130" y="4"/>
                  </a:cubicBezTo>
                  <a:cubicBezTo>
                    <a:pt x="119" y="0"/>
                    <a:pt x="76" y="3"/>
                    <a:pt x="44" y="42"/>
                  </a:cubicBezTo>
                  <a:cubicBezTo>
                    <a:pt x="18" y="75"/>
                    <a:pt x="13" y="104"/>
                    <a:pt x="28" y="120"/>
                  </a:cubicBezTo>
                  <a:cubicBezTo>
                    <a:pt x="39" y="131"/>
                    <a:pt x="69" y="128"/>
                    <a:pt x="100" y="88"/>
                  </a:cubicBezTo>
                  <a:cubicBezTo>
                    <a:pt x="99" y="90"/>
                    <a:pt x="81" y="127"/>
                    <a:pt x="78" y="133"/>
                  </a:cubicBezTo>
                  <a:cubicBezTo>
                    <a:pt x="67" y="152"/>
                    <a:pt x="49" y="165"/>
                    <a:pt x="40" y="166"/>
                  </a:cubicBezTo>
                  <a:cubicBezTo>
                    <a:pt x="17" y="170"/>
                    <a:pt x="13" y="151"/>
                    <a:pt x="12" y="142"/>
                  </a:cubicBezTo>
                  <a:cubicBezTo>
                    <a:pt x="12" y="141"/>
                    <a:pt x="0" y="142"/>
                    <a:pt x="0" y="153"/>
                  </a:cubicBezTo>
                  <a:cubicBezTo>
                    <a:pt x="0" y="168"/>
                    <a:pt x="17" y="184"/>
                    <a:pt x="45" y="180"/>
                  </a:cubicBezTo>
                  <a:cubicBezTo>
                    <a:pt x="94" y="173"/>
                    <a:pt x="112" y="134"/>
                    <a:pt x="134" y="84"/>
                  </a:cubicBezTo>
                  <a:cubicBezTo>
                    <a:pt x="137" y="77"/>
                    <a:pt x="153" y="42"/>
                    <a:pt x="167" y="23"/>
                  </a:cubicBezTo>
                  <a:cubicBezTo>
                    <a:pt x="170" y="20"/>
                    <a:pt x="148" y="15"/>
                    <a:pt x="144" y="19"/>
                  </a:cubicBezTo>
                  <a:lnTo>
                    <a:pt x="142" y="22"/>
                  </a:lnTo>
                  <a:close/>
                  <a:moveTo>
                    <a:pt x="123" y="40"/>
                  </a:moveTo>
                  <a:cubicBezTo>
                    <a:pt x="102" y="72"/>
                    <a:pt x="69" y="109"/>
                    <a:pt x="58" y="92"/>
                  </a:cubicBezTo>
                  <a:cubicBezTo>
                    <a:pt x="54" y="86"/>
                    <a:pt x="56" y="68"/>
                    <a:pt x="78" y="40"/>
                  </a:cubicBezTo>
                  <a:cubicBezTo>
                    <a:pt x="106" y="5"/>
                    <a:pt x="141" y="13"/>
                    <a:pt x="123" y="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+mn-cs"/>
              </a:endParaRPr>
            </a:p>
          </p:txBody>
        </p:sp>
        <p:sp>
          <p:nvSpPr>
            <p:cNvPr id="12" name="Freeform 23"/>
            <p:cNvSpPr>
              <a:spLocks/>
            </p:cNvSpPr>
            <p:nvPr/>
          </p:nvSpPr>
          <p:spPr bwMode="auto">
            <a:xfrm>
              <a:off x="7723188" y="3400425"/>
              <a:ext cx="303212" cy="584200"/>
            </a:xfrm>
            <a:custGeom>
              <a:avLst/>
              <a:gdLst>
                <a:gd name="T0" fmla="*/ 79 w 81"/>
                <a:gd name="T1" fmla="*/ 18 h 156"/>
                <a:gd name="T2" fmla="*/ 51 w 81"/>
                <a:gd name="T3" fmla="*/ 0 h 156"/>
                <a:gd name="T4" fmla="*/ 6 w 81"/>
                <a:gd name="T5" fmla="*/ 116 h 156"/>
                <a:gd name="T6" fmla="*/ 9 w 81"/>
                <a:gd name="T7" fmla="*/ 152 h 156"/>
                <a:gd name="T8" fmla="*/ 18 w 81"/>
                <a:gd name="T9" fmla="*/ 145 h 156"/>
                <a:gd name="T10" fmla="*/ 75 w 81"/>
                <a:gd name="T11" fmla="*/ 39 h 156"/>
                <a:gd name="T12" fmla="*/ 79 w 81"/>
                <a:gd name="T13" fmla="*/ 1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56">
                  <a:moveTo>
                    <a:pt x="79" y="18"/>
                  </a:moveTo>
                  <a:cubicBezTo>
                    <a:pt x="74" y="11"/>
                    <a:pt x="57" y="2"/>
                    <a:pt x="51" y="0"/>
                  </a:cubicBezTo>
                  <a:cubicBezTo>
                    <a:pt x="39" y="31"/>
                    <a:pt x="20" y="71"/>
                    <a:pt x="6" y="116"/>
                  </a:cubicBezTo>
                  <a:cubicBezTo>
                    <a:pt x="3" y="129"/>
                    <a:pt x="0" y="145"/>
                    <a:pt x="9" y="152"/>
                  </a:cubicBezTo>
                  <a:cubicBezTo>
                    <a:pt x="14" y="156"/>
                    <a:pt x="16" y="150"/>
                    <a:pt x="18" y="145"/>
                  </a:cubicBezTo>
                  <a:cubicBezTo>
                    <a:pt x="37" y="104"/>
                    <a:pt x="73" y="43"/>
                    <a:pt x="75" y="39"/>
                  </a:cubicBezTo>
                  <a:cubicBezTo>
                    <a:pt x="81" y="29"/>
                    <a:pt x="81" y="21"/>
                    <a:pt x="79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+mn-cs"/>
              </a:endParaRPr>
            </a:p>
          </p:txBody>
        </p:sp>
        <p:sp>
          <p:nvSpPr>
            <p:cNvPr id="13" name="Oval 24"/>
            <p:cNvSpPr>
              <a:spLocks noChangeArrowheads="1"/>
            </p:cNvSpPr>
            <p:nvPr/>
          </p:nvSpPr>
          <p:spPr bwMode="auto">
            <a:xfrm>
              <a:off x="7640638" y="4014788"/>
              <a:ext cx="134937" cy="1317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+mn-cs"/>
              </a:endParaRPr>
            </a:p>
          </p:txBody>
        </p:sp>
        <p:sp>
          <p:nvSpPr>
            <p:cNvPr id="14" name="Freeform 25"/>
            <p:cNvSpPr>
              <a:spLocks/>
            </p:cNvSpPr>
            <p:nvPr/>
          </p:nvSpPr>
          <p:spPr bwMode="auto">
            <a:xfrm>
              <a:off x="6122988" y="3414713"/>
              <a:ext cx="160337" cy="188913"/>
            </a:xfrm>
            <a:custGeom>
              <a:avLst/>
              <a:gdLst>
                <a:gd name="T0" fmla="*/ 8 w 43"/>
                <a:gd name="T1" fmla="*/ 50 h 50"/>
                <a:gd name="T2" fmla="*/ 43 w 43"/>
                <a:gd name="T3" fmla="*/ 20 h 50"/>
                <a:gd name="T4" fmla="*/ 31 w 43"/>
                <a:gd name="T5" fmla="*/ 4 h 50"/>
                <a:gd name="T6" fmla="*/ 20 w 43"/>
                <a:gd name="T7" fmla="*/ 35 h 50"/>
                <a:gd name="T8" fmla="*/ 3 w 43"/>
                <a:gd name="T9" fmla="*/ 46 h 50"/>
                <a:gd name="T10" fmla="*/ 8 w 43"/>
                <a:gd name="T1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50">
                  <a:moveTo>
                    <a:pt x="8" y="50"/>
                  </a:moveTo>
                  <a:cubicBezTo>
                    <a:pt x="25" y="50"/>
                    <a:pt x="40" y="41"/>
                    <a:pt x="43" y="20"/>
                  </a:cubicBezTo>
                  <a:cubicBezTo>
                    <a:pt x="43" y="18"/>
                    <a:pt x="43" y="6"/>
                    <a:pt x="31" y="4"/>
                  </a:cubicBezTo>
                  <a:cubicBezTo>
                    <a:pt x="7" y="0"/>
                    <a:pt x="2" y="30"/>
                    <a:pt x="20" y="35"/>
                  </a:cubicBezTo>
                  <a:cubicBezTo>
                    <a:pt x="17" y="42"/>
                    <a:pt x="10" y="44"/>
                    <a:pt x="3" y="46"/>
                  </a:cubicBezTo>
                  <a:cubicBezTo>
                    <a:pt x="0" y="47"/>
                    <a:pt x="5" y="50"/>
                    <a:pt x="8" y="5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+mn-cs"/>
              </a:endParaRPr>
            </a:p>
          </p:txBody>
        </p:sp>
        <p:sp>
          <p:nvSpPr>
            <p:cNvPr id="15" name="Freeform 26"/>
            <p:cNvSpPr>
              <a:spLocks noEditPoints="1"/>
            </p:cNvSpPr>
            <p:nvPr/>
          </p:nvSpPr>
          <p:spPr bwMode="auto">
            <a:xfrm>
              <a:off x="7018338" y="3562350"/>
              <a:ext cx="787400" cy="647700"/>
            </a:xfrm>
            <a:custGeom>
              <a:avLst/>
              <a:gdLst>
                <a:gd name="T0" fmla="*/ 158 w 210"/>
                <a:gd name="T1" fmla="*/ 37 h 173"/>
                <a:gd name="T2" fmla="*/ 71 w 210"/>
                <a:gd name="T3" fmla="*/ 154 h 173"/>
                <a:gd name="T4" fmla="*/ 158 w 210"/>
                <a:gd name="T5" fmla="*/ 37 h 173"/>
                <a:gd name="T6" fmla="*/ 132 w 210"/>
                <a:gd name="T7" fmla="*/ 102 h 173"/>
                <a:gd name="T8" fmla="*/ 120 w 210"/>
                <a:gd name="T9" fmla="*/ 119 h 173"/>
                <a:gd name="T10" fmla="*/ 106 w 210"/>
                <a:gd name="T11" fmla="*/ 132 h 173"/>
                <a:gd name="T12" fmla="*/ 84 w 210"/>
                <a:gd name="T13" fmla="*/ 141 h 173"/>
                <a:gd name="T14" fmla="*/ 90 w 210"/>
                <a:gd name="T15" fmla="*/ 81 h 173"/>
                <a:gd name="T16" fmla="*/ 143 w 210"/>
                <a:gd name="T17" fmla="*/ 41 h 173"/>
                <a:gd name="T18" fmla="*/ 132 w 210"/>
                <a:gd name="T19" fmla="*/ 10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0" h="173">
                  <a:moveTo>
                    <a:pt x="158" y="37"/>
                  </a:moveTo>
                  <a:cubicBezTo>
                    <a:pt x="74" y="0"/>
                    <a:pt x="0" y="135"/>
                    <a:pt x="71" y="154"/>
                  </a:cubicBezTo>
                  <a:cubicBezTo>
                    <a:pt x="138" y="173"/>
                    <a:pt x="210" y="60"/>
                    <a:pt x="158" y="37"/>
                  </a:cubicBezTo>
                  <a:moveTo>
                    <a:pt x="132" y="102"/>
                  </a:moveTo>
                  <a:cubicBezTo>
                    <a:pt x="129" y="107"/>
                    <a:pt x="125" y="113"/>
                    <a:pt x="120" y="119"/>
                  </a:cubicBezTo>
                  <a:cubicBezTo>
                    <a:pt x="114" y="124"/>
                    <a:pt x="110" y="129"/>
                    <a:pt x="106" y="132"/>
                  </a:cubicBezTo>
                  <a:cubicBezTo>
                    <a:pt x="98" y="137"/>
                    <a:pt x="91" y="141"/>
                    <a:pt x="84" y="141"/>
                  </a:cubicBezTo>
                  <a:cubicBezTo>
                    <a:pt x="67" y="140"/>
                    <a:pt x="70" y="108"/>
                    <a:pt x="90" y="81"/>
                  </a:cubicBezTo>
                  <a:cubicBezTo>
                    <a:pt x="105" y="59"/>
                    <a:pt x="127" y="34"/>
                    <a:pt x="143" y="41"/>
                  </a:cubicBezTo>
                  <a:cubicBezTo>
                    <a:pt x="155" y="47"/>
                    <a:pt x="148" y="74"/>
                    <a:pt x="132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+mn-cs"/>
              </a:endParaRPr>
            </a:p>
          </p:txBody>
        </p:sp>
      </p:grpSp>
      <p:pic>
        <p:nvPicPr>
          <p:cNvPr id="16" name="Picture 4" descr="F:\00_eldorado\Thomas Cook\07 TCLC 09.2013\00 brand design\logos\00 Group\ThomasCook_hori_office_neg.pn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8106" y="6403975"/>
            <a:ext cx="1754188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48501" y="692320"/>
            <a:ext cx="9009000" cy="507831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" name="Textplatzhalter 29"/>
          <p:cNvSpPr>
            <a:spLocks noGrp="1"/>
          </p:cNvSpPr>
          <p:nvPr>
            <p:ph type="body" sz="quarter" idx="13"/>
          </p:nvPr>
        </p:nvSpPr>
        <p:spPr>
          <a:xfrm>
            <a:off x="10" y="1684927"/>
            <a:ext cx="5417344" cy="52587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431962" tIns="107990" bIns="107990" spcCol="0" rtlCol="0" fromWordArt="0" anchor="ctr" forceAA="0"/>
          <a:lstStyle>
            <a:lvl1pPr marL="0" indent="0">
              <a:buFont typeface="Arial" panose="020B0604020202020204" pitchFamily="34" charset="0"/>
              <a:buNone/>
              <a:defRPr lang="en-US" sz="2000" dirty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4"/>
          </p:nvPr>
        </p:nvSpPr>
        <p:spPr>
          <a:xfrm>
            <a:off x="3446" y="2319977"/>
            <a:ext cx="5413579" cy="52588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431962" tIns="107990" bIns="107990" spcCol="0" rtlCol="0" fromWordArt="0" anchor="ctr" forceAA="0"/>
          <a:lstStyle>
            <a:lvl1pPr marL="215981" indent="-215981">
              <a:buNone/>
              <a:defRPr lang="de-DE" sz="2000" smtClean="0">
                <a:solidFill>
                  <a:schemeClr val="tx1"/>
                </a:solidFill>
              </a:defRPr>
            </a:lvl1pPr>
            <a:lvl2pPr>
              <a:defRPr lang="de-DE" smtClean="0">
                <a:solidFill>
                  <a:schemeClr val="lt1"/>
                </a:solidFill>
              </a:defRPr>
            </a:lvl2pPr>
            <a:lvl3pPr>
              <a:defRPr lang="de-DE" smtClean="0">
                <a:solidFill>
                  <a:schemeClr val="lt1"/>
                </a:solidFill>
              </a:defRPr>
            </a:lvl3pPr>
            <a:lvl4pPr>
              <a:defRPr lang="de-DE" smtClean="0">
                <a:solidFill>
                  <a:schemeClr val="lt1"/>
                </a:solidFill>
              </a:defRPr>
            </a:lvl4pPr>
            <a:lvl5pPr>
              <a:defRPr lang="en-US">
                <a:solidFill>
                  <a:schemeClr val="lt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Foliennummernplatzhalt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3A075B-8AC8-4526-A510-F51E8919515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087317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FD3B72-8E8A-4DB6-B9A9-27914DAB972D}" type="datetime1">
              <a:rPr lang="en-US"/>
              <a:pPr>
                <a:defRPr/>
              </a:pPr>
              <a:t>5/24/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10C683-03C7-4316-9672-94CCB749CFC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14977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4B05AD-095A-4A3C-B50D-2157201B9BCD}" type="datetime1">
              <a:rPr lang="en-US"/>
              <a:pPr>
                <a:defRPr/>
              </a:pPr>
              <a:t>5/24/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DA0B18-9D76-4C7C-889E-A98F8739F8C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41227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3"/>
          <a:ext cx="175419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613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292"/>
                      <p:cNvPicPr>
                        <a:picLocks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3"/>
                        <a:ext cx="175419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/>
          <p:cNvSpPr>
            <a:spLocks noChangeArrowheads="1"/>
          </p:cNvSpPr>
          <p:nvPr/>
        </p:nvSpPr>
        <p:spPr bwMode="auto">
          <a:xfrm>
            <a:off x="8739981" y="36513"/>
            <a:ext cx="724033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defRPr/>
            </a:pPr>
            <a:endParaRPr lang="en-US" sz="800" dirty="0" smtClean="0">
              <a:solidFill>
                <a:srgbClr val="000000"/>
              </a:solidFill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9001462" y="2562892"/>
            <a:ext cx="165429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dirty="0" smtClean="0">
                <a:solidFill>
                  <a:srgbClr val="6C6F70"/>
                </a:solidFill>
                <a:latin typeface="Calibri"/>
                <a:cs typeface="+mn-cs"/>
              </a:rPr>
              <a:t>Last Modified 05/12/2013 06:36 GMT Standard Time</a:t>
            </a:r>
            <a:endParaRPr lang="en-US" dirty="0" smtClean="0">
              <a:solidFill>
                <a:srgbClr val="6C6F70"/>
              </a:solidFill>
              <a:latin typeface="Calibri"/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9713194" y="4780629"/>
            <a:ext cx="23083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6C6F70"/>
                </a:solidFill>
                <a:latin typeface="Calibri"/>
                <a:cs typeface="+mn-cs"/>
              </a:rPr>
              <a:t>Printed</a:t>
            </a:r>
            <a:endParaRPr lang="en-US" dirty="0" smtClean="0">
              <a:solidFill>
                <a:srgbClr val="6C6F70"/>
              </a:solidFill>
              <a:latin typeface="Calibri"/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441989" y="26988"/>
            <a:ext cx="66300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en-US" sz="1400" dirty="0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441989" y="1117603"/>
            <a:ext cx="9022027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Calibri"/>
                <a:cs typeface="+mn-cs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441989" y="6026150"/>
            <a:ext cx="9022027" cy="381000"/>
            <a:chOff x="75" y="3915"/>
            <a:chExt cx="5385" cy="23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15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5250" indent="-95250">
                <a:defRPr/>
              </a:pPr>
              <a:r>
                <a:rPr lang="en-US" sz="1000" dirty="0" smtClean="0">
                  <a:solidFill>
                    <a:srgbClr val="6C6F70"/>
                  </a:solidFill>
                  <a:latin typeface="Calibri"/>
                  <a:cs typeface="+mn-cs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379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485775" indent="-485775" defTabSz="912813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6C6F7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25158" y="1978025"/>
            <a:ext cx="4713950" cy="573088"/>
            <a:chOff x="915" y="677"/>
            <a:chExt cx="2686" cy="353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defRPr/>
              </a:pPr>
              <a:r>
                <a:rPr lang="en-US" b="1" dirty="0" smtClean="0">
                  <a:solidFill>
                    <a:srgbClr val="6C6F70"/>
                  </a:solidFill>
                </a:rPr>
                <a:t>Title</a:t>
              </a:r>
            </a:p>
            <a:p>
              <a:pPr>
                <a:defRPr/>
              </a:pPr>
              <a:r>
                <a:rPr lang="en-US" dirty="0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Line 8"/>
          <p:cNvSpPr>
            <a:spLocks noChangeShapeType="1"/>
          </p:cNvSpPr>
          <p:nvPr/>
        </p:nvSpPr>
        <p:spPr bwMode="auto">
          <a:xfrm>
            <a:off x="441989" y="1109663"/>
            <a:ext cx="9022027" cy="0"/>
          </a:xfrm>
          <a:prstGeom prst="line">
            <a:avLst/>
          </a:prstGeom>
          <a:noFill/>
          <a:ln w="19050">
            <a:solidFill>
              <a:srgbClr val="F8AC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dirty="0"/>
          </a:p>
        </p:txBody>
      </p:sp>
      <p:pic>
        <p:nvPicPr>
          <p:cNvPr id="16" name="Picture 3" descr="F:\00_eldorado\Thomas Cook\07 TCLC 09.2013\00 brand design\logos\00 Group\ThomasCook_hori_office.png"/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99509" y="6494466"/>
            <a:ext cx="1755907" cy="22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7" name="Gruppieren 10"/>
          <p:cNvGrpSpPr>
            <a:grpSpLocks noChangeAspect="1"/>
          </p:cNvGrpSpPr>
          <p:nvPr/>
        </p:nvGrpSpPr>
        <p:grpSpPr bwMode="auto">
          <a:xfrm>
            <a:off x="440944" y="6505360"/>
            <a:ext cx="975000" cy="256646"/>
            <a:chOff x="4741863" y="3397250"/>
            <a:chExt cx="3284537" cy="936625"/>
          </a:xfrm>
          <a:solidFill>
            <a:srgbClr val="6C6F70"/>
          </a:solidFill>
        </p:grpSpPr>
        <p:sp>
          <p:nvSpPr>
            <p:cNvPr id="18" name="Freeform 19"/>
            <p:cNvSpPr>
              <a:spLocks/>
            </p:cNvSpPr>
            <p:nvPr/>
          </p:nvSpPr>
          <p:spPr bwMode="auto">
            <a:xfrm>
              <a:off x="6073775" y="3670300"/>
              <a:ext cx="457200" cy="490538"/>
            </a:xfrm>
            <a:custGeom>
              <a:avLst/>
              <a:gdLst>
                <a:gd name="T0" fmla="*/ 92 w 122"/>
                <a:gd name="T1" fmla="*/ 0 h 131"/>
                <a:gd name="T2" fmla="*/ 35 w 122"/>
                <a:gd name="T3" fmla="*/ 28 h 131"/>
                <a:gd name="T4" fmla="*/ 25 w 122"/>
                <a:gd name="T5" fmla="*/ 43 h 131"/>
                <a:gd name="T6" fmla="*/ 45 w 122"/>
                <a:gd name="T7" fmla="*/ 86 h 131"/>
                <a:gd name="T8" fmla="*/ 60 w 122"/>
                <a:gd name="T9" fmla="*/ 99 h 131"/>
                <a:gd name="T10" fmla="*/ 60 w 122"/>
                <a:gd name="T11" fmla="*/ 109 h 131"/>
                <a:gd name="T12" fmla="*/ 17 w 122"/>
                <a:gd name="T13" fmla="*/ 111 h 131"/>
                <a:gd name="T14" fmla="*/ 2 w 122"/>
                <a:gd name="T15" fmla="*/ 101 h 131"/>
                <a:gd name="T16" fmla="*/ 1 w 122"/>
                <a:gd name="T17" fmla="*/ 103 h 131"/>
                <a:gd name="T18" fmla="*/ 2 w 122"/>
                <a:gd name="T19" fmla="*/ 109 h 131"/>
                <a:gd name="T20" fmla="*/ 12 w 122"/>
                <a:gd name="T21" fmla="*/ 119 h 131"/>
                <a:gd name="T22" fmla="*/ 64 w 122"/>
                <a:gd name="T23" fmla="*/ 129 h 131"/>
                <a:gd name="T24" fmla="*/ 80 w 122"/>
                <a:gd name="T25" fmla="*/ 84 h 131"/>
                <a:gd name="T26" fmla="*/ 62 w 122"/>
                <a:gd name="T27" fmla="*/ 46 h 131"/>
                <a:gd name="T28" fmla="*/ 72 w 122"/>
                <a:gd name="T29" fmla="*/ 31 h 131"/>
                <a:gd name="T30" fmla="*/ 110 w 122"/>
                <a:gd name="T31" fmla="*/ 26 h 131"/>
                <a:gd name="T32" fmla="*/ 112 w 122"/>
                <a:gd name="T33" fmla="*/ 34 h 131"/>
                <a:gd name="T34" fmla="*/ 121 w 122"/>
                <a:gd name="T35" fmla="*/ 36 h 131"/>
                <a:gd name="T36" fmla="*/ 121 w 122"/>
                <a:gd name="T37" fmla="*/ 21 h 131"/>
                <a:gd name="T38" fmla="*/ 92 w 122"/>
                <a:gd name="T39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2" h="131">
                  <a:moveTo>
                    <a:pt x="92" y="0"/>
                  </a:moveTo>
                  <a:cubicBezTo>
                    <a:pt x="71" y="0"/>
                    <a:pt x="49" y="12"/>
                    <a:pt x="35" y="28"/>
                  </a:cubicBezTo>
                  <a:cubicBezTo>
                    <a:pt x="31" y="32"/>
                    <a:pt x="27" y="38"/>
                    <a:pt x="25" y="43"/>
                  </a:cubicBezTo>
                  <a:cubicBezTo>
                    <a:pt x="17" y="61"/>
                    <a:pt x="31" y="78"/>
                    <a:pt x="45" y="86"/>
                  </a:cubicBezTo>
                  <a:cubicBezTo>
                    <a:pt x="51" y="89"/>
                    <a:pt x="57" y="93"/>
                    <a:pt x="60" y="99"/>
                  </a:cubicBezTo>
                  <a:cubicBezTo>
                    <a:pt x="61" y="102"/>
                    <a:pt x="61" y="106"/>
                    <a:pt x="60" y="109"/>
                  </a:cubicBezTo>
                  <a:cubicBezTo>
                    <a:pt x="52" y="119"/>
                    <a:pt x="24" y="114"/>
                    <a:pt x="17" y="111"/>
                  </a:cubicBezTo>
                  <a:cubicBezTo>
                    <a:pt x="11" y="108"/>
                    <a:pt x="7" y="104"/>
                    <a:pt x="2" y="101"/>
                  </a:cubicBezTo>
                  <a:cubicBezTo>
                    <a:pt x="2" y="101"/>
                    <a:pt x="1" y="101"/>
                    <a:pt x="1" y="103"/>
                  </a:cubicBezTo>
                  <a:cubicBezTo>
                    <a:pt x="0" y="105"/>
                    <a:pt x="0" y="107"/>
                    <a:pt x="2" y="109"/>
                  </a:cubicBezTo>
                  <a:cubicBezTo>
                    <a:pt x="4" y="113"/>
                    <a:pt x="8" y="116"/>
                    <a:pt x="12" y="119"/>
                  </a:cubicBezTo>
                  <a:cubicBezTo>
                    <a:pt x="27" y="128"/>
                    <a:pt x="46" y="131"/>
                    <a:pt x="64" y="129"/>
                  </a:cubicBezTo>
                  <a:cubicBezTo>
                    <a:pt x="93" y="125"/>
                    <a:pt x="97" y="100"/>
                    <a:pt x="80" y="84"/>
                  </a:cubicBezTo>
                  <a:cubicBezTo>
                    <a:pt x="67" y="73"/>
                    <a:pt x="55" y="65"/>
                    <a:pt x="62" y="46"/>
                  </a:cubicBezTo>
                  <a:cubicBezTo>
                    <a:pt x="64" y="40"/>
                    <a:pt x="68" y="35"/>
                    <a:pt x="72" y="31"/>
                  </a:cubicBezTo>
                  <a:cubicBezTo>
                    <a:pt x="80" y="23"/>
                    <a:pt x="107" y="7"/>
                    <a:pt x="110" y="26"/>
                  </a:cubicBezTo>
                  <a:cubicBezTo>
                    <a:pt x="110" y="30"/>
                    <a:pt x="110" y="31"/>
                    <a:pt x="112" y="34"/>
                  </a:cubicBezTo>
                  <a:cubicBezTo>
                    <a:pt x="113" y="36"/>
                    <a:pt x="118" y="39"/>
                    <a:pt x="121" y="36"/>
                  </a:cubicBezTo>
                  <a:cubicBezTo>
                    <a:pt x="121" y="36"/>
                    <a:pt x="122" y="25"/>
                    <a:pt x="121" y="21"/>
                  </a:cubicBezTo>
                  <a:cubicBezTo>
                    <a:pt x="118" y="10"/>
                    <a:pt x="97" y="0"/>
                    <a:pt x="9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9" name="Freeform 20"/>
            <p:cNvSpPr>
              <a:spLocks/>
            </p:cNvSpPr>
            <p:nvPr/>
          </p:nvSpPr>
          <p:spPr bwMode="auto">
            <a:xfrm>
              <a:off x="4741863" y="3397250"/>
              <a:ext cx="522287" cy="793750"/>
            </a:xfrm>
            <a:custGeom>
              <a:avLst/>
              <a:gdLst>
                <a:gd name="T0" fmla="*/ 122 w 139"/>
                <a:gd name="T1" fmla="*/ 186 h 212"/>
                <a:gd name="T2" fmla="*/ 41 w 139"/>
                <a:gd name="T3" fmla="*/ 190 h 212"/>
                <a:gd name="T4" fmla="*/ 115 w 139"/>
                <a:gd name="T5" fmla="*/ 58 h 212"/>
                <a:gd name="T6" fmla="*/ 132 w 139"/>
                <a:gd name="T7" fmla="*/ 25 h 212"/>
                <a:gd name="T8" fmla="*/ 131 w 139"/>
                <a:gd name="T9" fmla="*/ 17 h 212"/>
                <a:gd name="T10" fmla="*/ 118 w 139"/>
                <a:gd name="T11" fmla="*/ 0 h 212"/>
                <a:gd name="T12" fmla="*/ 114 w 139"/>
                <a:gd name="T13" fmla="*/ 1 h 212"/>
                <a:gd name="T14" fmla="*/ 101 w 139"/>
                <a:gd name="T15" fmla="*/ 18 h 212"/>
                <a:gd name="T16" fmla="*/ 50 w 139"/>
                <a:gd name="T17" fmla="*/ 92 h 212"/>
                <a:gd name="T18" fmla="*/ 29 w 139"/>
                <a:gd name="T19" fmla="*/ 128 h 212"/>
                <a:gd name="T20" fmla="*/ 6 w 139"/>
                <a:gd name="T21" fmla="*/ 172 h 212"/>
                <a:gd name="T22" fmla="*/ 23 w 139"/>
                <a:gd name="T23" fmla="*/ 208 h 212"/>
                <a:gd name="T24" fmla="*/ 31 w 139"/>
                <a:gd name="T25" fmla="*/ 212 h 212"/>
                <a:gd name="T26" fmla="*/ 136 w 139"/>
                <a:gd name="T27" fmla="*/ 198 h 212"/>
                <a:gd name="T28" fmla="*/ 122 w 139"/>
                <a:gd name="T29" fmla="*/ 186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9" h="212">
                  <a:moveTo>
                    <a:pt x="122" y="186"/>
                  </a:moveTo>
                  <a:cubicBezTo>
                    <a:pt x="97" y="180"/>
                    <a:pt x="64" y="188"/>
                    <a:pt x="41" y="190"/>
                  </a:cubicBezTo>
                  <a:cubicBezTo>
                    <a:pt x="61" y="154"/>
                    <a:pt x="96" y="91"/>
                    <a:pt x="115" y="58"/>
                  </a:cubicBezTo>
                  <a:cubicBezTo>
                    <a:pt x="120" y="49"/>
                    <a:pt x="128" y="34"/>
                    <a:pt x="132" y="25"/>
                  </a:cubicBezTo>
                  <a:cubicBezTo>
                    <a:pt x="132" y="25"/>
                    <a:pt x="134" y="22"/>
                    <a:pt x="131" y="17"/>
                  </a:cubicBezTo>
                  <a:cubicBezTo>
                    <a:pt x="130" y="12"/>
                    <a:pt x="119" y="2"/>
                    <a:pt x="118" y="0"/>
                  </a:cubicBezTo>
                  <a:cubicBezTo>
                    <a:pt x="117" y="0"/>
                    <a:pt x="115" y="0"/>
                    <a:pt x="114" y="1"/>
                  </a:cubicBezTo>
                  <a:cubicBezTo>
                    <a:pt x="110" y="6"/>
                    <a:pt x="102" y="15"/>
                    <a:pt x="101" y="18"/>
                  </a:cubicBezTo>
                  <a:cubicBezTo>
                    <a:pt x="97" y="22"/>
                    <a:pt x="59" y="78"/>
                    <a:pt x="50" y="92"/>
                  </a:cubicBezTo>
                  <a:cubicBezTo>
                    <a:pt x="47" y="98"/>
                    <a:pt x="32" y="121"/>
                    <a:pt x="29" y="128"/>
                  </a:cubicBezTo>
                  <a:cubicBezTo>
                    <a:pt x="19" y="146"/>
                    <a:pt x="12" y="159"/>
                    <a:pt x="6" y="172"/>
                  </a:cubicBezTo>
                  <a:cubicBezTo>
                    <a:pt x="0" y="192"/>
                    <a:pt x="16" y="203"/>
                    <a:pt x="23" y="208"/>
                  </a:cubicBezTo>
                  <a:cubicBezTo>
                    <a:pt x="23" y="208"/>
                    <a:pt x="28" y="212"/>
                    <a:pt x="31" y="212"/>
                  </a:cubicBezTo>
                  <a:cubicBezTo>
                    <a:pt x="45" y="212"/>
                    <a:pt x="106" y="198"/>
                    <a:pt x="136" y="198"/>
                  </a:cubicBezTo>
                  <a:cubicBezTo>
                    <a:pt x="139" y="197"/>
                    <a:pt x="130" y="191"/>
                    <a:pt x="122" y="18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0" name="Freeform 21"/>
            <p:cNvSpPr>
              <a:spLocks noEditPoints="1"/>
            </p:cNvSpPr>
            <p:nvPr/>
          </p:nvSpPr>
          <p:spPr bwMode="auto">
            <a:xfrm>
              <a:off x="5222875" y="3449638"/>
              <a:ext cx="917575" cy="752475"/>
            </a:xfrm>
            <a:custGeom>
              <a:avLst/>
              <a:gdLst>
                <a:gd name="T0" fmla="*/ 242 w 245"/>
                <a:gd name="T1" fmla="*/ 68 h 201"/>
                <a:gd name="T2" fmla="*/ 243 w 245"/>
                <a:gd name="T3" fmla="*/ 64 h 201"/>
                <a:gd name="T4" fmla="*/ 209 w 245"/>
                <a:gd name="T5" fmla="*/ 58 h 201"/>
                <a:gd name="T6" fmla="*/ 223 w 245"/>
                <a:gd name="T7" fmla="*/ 35 h 201"/>
                <a:gd name="T8" fmla="*/ 224 w 245"/>
                <a:gd name="T9" fmla="*/ 21 h 201"/>
                <a:gd name="T10" fmla="*/ 207 w 245"/>
                <a:gd name="T11" fmla="*/ 1 h 201"/>
                <a:gd name="T12" fmla="*/ 203 w 245"/>
                <a:gd name="T13" fmla="*/ 2 h 201"/>
                <a:gd name="T14" fmla="*/ 202 w 245"/>
                <a:gd name="T15" fmla="*/ 8 h 201"/>
                <a:gd name="T16" fmla="*/ 172 w 245"/>
                <a:gd name="T17" fmla="*/ 58 h 201"/>
                <a:gd name="T18" fmla="*/ 142 w 245"/>
                <a:gd name="T19" fmla="*/ 58 h 201"/>
                <a:gd name="T20" fmla="*/ 139 w 245"/>
                <a:gd name="T21" fmla="*/ 61 h 201"/>
                <a:gd name="T22" fmla="*/ 145 w 245"/>
                <a:gd name="T23" fmla="*/ 68 h 201"/>
                <a:gd name="T24" fmla="*/ 166 w 245"/>
                <a:gd name="T25" fmla="*/ 68 h 201"/>
                <a:gd name="T26" fmla="*/ 134 w 245"/>
                <a:gd name="T27" fmla="*/ 124 h 201"/>
                <a:gd name="T28" fmla="*/ 126 w 245"/>
                <a:gd name="T29" fmla="*/ 137 h 201"/>
                <a:gd name="T30" fmla="*/ 52 w 245"/>
                <a:gd name="T31" fmla="*/ 166 h 201"/>
                <a:gd name="T32" fmla="*/ 48 w 245"/>
                <a:gd name="T33" fmla="*/ 134 h 201"/>
                <a:gd name="T34" fmla="*/ 91 w 245"/>
                <a:gd name="T35" fmla="*/ 132 h 201"/>
                <a:gd name="T36" fmla="*/ 116 w 245"/>
                <a:gd name="T37" fmla="*/ 65 h 201"/>
                <a:gd name="T38" fmla="*/ 40 w 245"/>
                <a:gd name="T39" fmla="*/ 89 h 201"/>
                <a:gd name="T40" fmla="*/ 28 w 245"/>
                <a:gd name="T41" fmla="*/ 187 h 201"/>
                <a:gd name="T42" fmla="*/ 122 w 245"/>
                <a:gd name="T43" fmla="*/ 154 h 201"/>
                <a:gd name="T44" fmla="*/ 121 w 245"/>
                <a:gd name="T45" fmla="*/ 161 h 201"/>
                <a:gd name="T46" fmla="*/ 129 w 245"/>
                <a:gd name="T47" fmla="*/ 183 h 201"/>
                <a:gd name="T48" fmla="*/ 198 w 245"/>
                <a:gd name="T49" fmla="*/ 150 h 201"/>
                <a:gd name="T50" fmla="*/ 189 w 245"/>
                <a:gd name="T51" fmla="*/ 150 h 201"/>
                <a:gd name="T52" fmla="*/ 158 w 245"/>
                <a:gd name="T53" fmla="*/ 168 h 201"/>
                <a:gd name="T54" fmla="*/ 202 w 245"/>
                <a:gd name="T55" fmla="*/ 68 h 201"/>
                <a:gd name="T56" fmla="*/ 242 w 245"/>
                <a:gd name="T57" fmla="*/ 68 h 201"/>
                <a:gd name="T58" fmla="*/ 106 w 245"/>
                <a:gd name="T59" fmla="*/ 72 h 201"/>
                <a:gd name="T60" fmla="*/ 89 w 245"/>
                <a:gd name="T61" fmla="*/ 111 h 201"/>
                <a:gd name="T62" fmla="*/ 50 w 245"/>
                <a:gd name="T63" fmla="*/ 125 h 201"/>
                <a:gd name="T64" fmla="*/ 106 w 245"/>
                <a:gd name="T65" fmla="*/ 72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5" h="201">
                  <a:moveTo>
                    <a:pt x="242" y="68"/>
                  </a:moveTo>
                  <a:cubicBezTo>
                    <a:pt x="243" y="68"/>
                    <a:pt x="245" y="66"/>
                    <a:pt x="243" y="64"/>
                  </a:cubicBezTo>
                  <a:cubicBezTo>
                    <a:pt x="239" y="59"/>
                    <a:pt x="225" y="58"/>
                    <a:pt x="209" y="58"/>
                  </a:cubicBezTo>
                  <a:cubicBezTo>
                    <a:pt x="212" y="52"/>
                    <a:pt x="221" y="39"/>
                    <a:pt x="223" y="35"/>
                  </a:cubicBezTo>
                  <a:cubicBezTo>
                    <a:pt x="226" y="28"/>
                    <a:pt x="226" y="24"/>
                    <a:pt x="224" y="21"/>
                  </a:cubicBezTo>
                  <a:cubicBezTo>
                    <a:pt x="220" y="16"/>
                    <a:pt x="208" y="3"/>
                    <a:pt x="207" y="1"/>
                  </a:cubicBezTo>
                  <a:cubicBezTo>
                    <a:pt x="205" y="0"/>
                    <a:pt x="203" y="0"/>
                    <a:pt x="203" y="2"/>
                  </a:cubicBezTo>
                  <a:cubicBezTo>
                    <a:pt x="203" y="5"/>
                    <a:pt x="203" y="6"/>
                    <a:pt x="202" y="8"/>
                  </a:cubicBezTo>
                  <a:cubicBezTo>
                    <a:pt x="200" y="13"/>
                    <a:pt x="172" y="58"/>
                    <a:pt x="172" y="58"/>
                  </a:cubicBezTo>
                  <a:cubicBezTo>
                    <a:pt x="142" y="58"/>
                    <a:pt x="142" y="58"/>
                    <a:pt x="142" y="58"/>
                  </a:cubicBezTo>
                  <a:cubicBezTo>
                    <a:pt x="142" y="58"/>
                    <a:pt x="138" y="58"/>
                    <a:pt x="139" y="61"/>
                  </a:cubicBezTo>
                  <a:cubicBezTo>
                    <a:pt x="140" y="64"/>
                    <a:pt x="145" y="68"/>
                    <a:pt x="145" y="68"/>
                  </a:cubicBezTo>
                  <a:cubicBezTo>
                    <a:pt x="154" y="68"/>
                    <a:pt x="166" y="68"/>
                    <a:pt x="166" y="68"/>
                  </a:cubicBezTo>
                  <a:cubicBezTo>
                    <a:pt x="166" y="68"/>
                    <a:pt x="145" y="106"/>
                    <a:pt x="134" y="124"/>
                  </a:cubicBezTo>
                  <a:cubicBezTo>
                    <a:pt x="132" y="128"/>
                    <a:pt x="130" y="133"/>
                    <a:pt x="126" y="137"/>
                  </a:cubicBezTo>
                  <a:cubicBezTo>
                    <a:pt x="117" y="147"/>
                    <a:pt x="82" y="182"/>
                    <a:pt x="52" y="166"/>
                  </a:cubicBezTo>
                  <a:cubicBezTo>
                    <a:pt x="43" y="161"/>
                    <a:pt x="44" y="145"/>
                    <a:pt x="48" y="134"/>
                  </a:cubicBezTo>
                  <a:cubicBezTo>
                    <a:pt x="48" y="134"/>
                    <a:pt x="68" y="145"/>
                    <a:pt x="91" y="132"/>
                  </a:cubicBezTo>
                  <a:cubicBezTo>
                    <a:pt x="124" y="113"/>
                    <a:pt x="142" y="78"/>
                    <a:pt x="116" y="65"/>
                  </a:cubicBezTo>
                  <a:cubicBezTo>
                    <a:pt x="91" y="53"/>
                    <a:pt x="64" y="65"/>
                    <a:pt x="40" y="89"/>
                  </a:cubicBezTo>
                  <a:cubicBezTo>
                    <a:pt x="5" y="126"/>
                    <a:pt x="0" y="175"/>
                    <a:pt x="28" y="187"/>
                  </a:cubicBezTo>
                  <a:cubicBezTo>
                    <a:pt x="59" y="201"/>
                    <a:pt x="99" y="179"/>
                    <a:pt x="122" y="154"/>
                  </a:cubicBezTo>
                  <a:cubicBezTo>
                    <a:pt x="121" y="156"/>
                    <a:pt x="121" y="159"/>
                    <a:pt x="121" y="161"/>
                  </a:cubicBezTo>
                  <a:cubicBezTo>
                    <a:pt x="121" y="168"/>
                    <a:pt x="122" y="179"/>
                    <a:pt x="129" y="183"/>
                  </a:cubicBezTo>
                  <a:cubicBezTo>
                    <a:pt x="152" y="199"/>
                    <a:pt x="185" y="168"/>
                    <a:pt x="198" y="150"/>
                  </a:cubicBezTo>
                  <a:cubicBezTo>
                    <a:pt x="200" y="148"/>
                    <a:pt x="191" y="148"/>
                    <a:pt x="189" y="150"/>
                  </a:cubicBezTo>
                  <a:cubicBezTo>
                    <a:pt x="180" y="156"/>
                    <a:pt x="164" y="173"/>
                    <a:pt x="158" y="168"/>
                  </a:cubicBezTo>
                  <a:cubicBezTo>
                    <a:pt x="151" y="161"/>
                    <a:pt x="181" y="102"/>
                    <a:pt x="202" y="68"/>
                  </a:cubicBezTo>
                  <a:cubicBezTo>
                    <a:pt x="216" y="67"/>
                    <a:pt x="233" y="68"/>
                    <a:pt x="242" y="68"/>
                  </a:cubicBezTo>
                  <a:moveTo>
                    <a:pt x="106" y="72"/>
                  </a:moveTo>
                  <a:cubicBezTo>
                    <a:pt x="113" y="74"/>
                    <a:pt x="98" y="102"/>
                    <a:pt x="89" y="111"/>
                  </a:cubicBezTo>
                  <a:cubicBezTo>
                    <a:pt x="71" y="129"/>
                    <a:pt x="50" y="125"/>
                    <a:pt x="50" y="125"/>
                  </a:cubicBezTo>
                  <a:cubicBezTo>
                    <a:pt x="58" y="99"/>
                    <a:pt x="96" y="70"/>
                    <a:pt x="106" y="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1" name="Freeform 22"/>
            <p:cNvSpPr>
              <a:spLocks noEditPoints="1"/>
            </p:cNvSpPr>
            <p:nvPr/>
          </p:nvSpPr>
          <p:spPr bwMode="auto">
            <a:xfrm>
              <a:off x="6613525" y="3644900"/>
              <a:ext cx="636587" cy="688975"/>
            </a:xfrm>
            <a:custGeom>
              <a:avLst/>
              <a:gdLst>
                <a:gd name="T0" fmla="*/ 142 w 170"/>
                <a:gd name="T1" fmla="*/ 22 h 184"/>
                <a:gd name="T2" fmla="*/ 130 w 170"/>
                <a:gd name="T3" fmla="*/ 4 h 184"/>
                <a:gd name="T4" fmla="*/ 44 w 170"/>
                <a:gd name="T5" fmla="*/ 42 h 184"/>
                <a:gd name="T6" fmla="*/ 28 w 170"/>
                <a:gd name="T7" fmla="*/ 120 h 184"/>
                <a:gd name="T8" fmla="*/ 100 w 170"/>
                <a:gd name="T9" fmla="*/ 88 h 184"/>
                <a:gd name="T10" fmla="*/ 78 w 170"/>
                <a:gd name="T11" fmla="*/ 133 h 184"/>
                <a:gd name="T12" fmla="*/ 40 w 170"/>
                <a:gd name="T13" fmla="*/ 166 h 184"/>
                <a:gd name="T14" fmla="*/ 12 w 170"/>
                <a:gd name="T15" fmla="*/ 142 h 184"/>
                <a:gd name="T16" fmla="*/ 0 w 170"/>
                <a:gd name="T17" fmla="*/ 153 h 184"/>
                <a:gd name="T18" fmla="*/ 45 w 170"/>
                <a:gd name="T19" fmla="*/ 180 h 184"/>
                <a:gd name="T20" fmla="*/ 134 w 170"/>
                <a:gd name="T21" fmla="*/ 84 h 184"/>
                <a:gd name="T22" fmla="*/ 167 w 170"/>
                <a:gd name="T23" fmla="*/ 23 h 184"/>
                <a:gd name="T24" fmla="*/ 144 w 170"/>
                <a:gd name="T25" fmla="*/ 19 h 184"/>
                <a:gd name="T26" fmla="*/ 142 w 170"/>
                <a:gd name="T27" fmla="*/ 22 h 184"/>
                <a:gd name="T28" fmla="*/ 123 w 170"/>
                <a:gd name="T29" fmla="*/ 40 h 184"/>
                <a:gd name="T30" fmla="*/ 58 w 170"/>
                <a:gd name="T31" fmla="*/ 92 h 184"/>
                <a:gd name="T32" fmla="*/ 78 w 170"/>
                <a:gd name="T33" fmla="*/ 40 h 184"/>
                <a:gd name="T34" fmla="*/ 123 w 170"/>
                <a:gd name="T35" fmla="*/ 4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84">
                  <a:moveTo>
                    <a:pt x="142" y="22"/>
                  </a:moveTo>
                  <a:cubicBezTo>
                    <a:pt x="142" y="22"/>
                    <a:pt x="141" y="9"/>
                    <a:pt x="130" y="4"/>
                  </a:cubicBezTo>
                  <a:cubicBezTo>
                    <a:pt x="119" y="0"/>
                    <a:pt x="76" y="3"/>
                    <a:pt x="44" y="42"/>
                  </a:cubicBezTo>
                  <a:cubicBezTo>
                    <a:pt x="18" y="75"/>
                    <a:pt x="13" y="104"/>
                    <a:pt x="28" y="120"/>
                  </a:cubicBezTo>
                  <a:cubicBezTo>
                    <a:pt x="39" y="131"/>
                    <a:pt x="69" y="128"/>
                    <a:pt x="100" y="88"/>
                  </a:cubicBezTo>
                  <a:cubicBezTo>
                    <a:pt x="99" y="90"/>
                    <a:pt x="81" y="127"/>
                    <a:pt x="78" y="133"/>
                  </a:cubicBezTo>
                  <a:cubicBezTo>
                    <a:pt x="67" y="152"/>
                    <a:pt x="49" y="165"/>
                    <a:pt x="40" y="166"/>
                  </a:cubicBezTo>
                  <a:cubicBezTo>
                    <a:pt x="17" y="170"/>
                    <a:pt x="13" y="151"/>
                    <a:pt x="12" y="142"/>
                  </a:cubicBezTo>
                  <a:cubicBezTo>
                    <a:pt x="12" y="141"/>
                    <a:pt x="0" y="142"/>
                    <a:pt x="0" y="153"/>
                  </a:cubicBezTo>
                  <a:cubicBezTo>
                    <a:pt x="0" y="168"/>
                    <a:pt x="17" y="184"/>
                    <a:pt x="45" y="180"/>
                  </a:cubicBezTo>
                  <a:cubicBezTo>
                    <a:pt x="94" y="173"/>
                    <a:pt x="112" y="134"/>
                    <a:pt x="134" y="84"/>
                  </a:cubicBezTo>
                  <a:cubicBezTo>
                    <a:pt x="137" y="77"/>
                    <a:pt x="153" y="42"/>
                    <a:pt x="167" y="23"/>
                  </a:cubicBezTo>
                  <a:cubicBezTo>
                    <a:pt x="170" y="20"/>
                    <a:pt x="148" y="15"/>
                    <a:pt x="144" y="19"/>
                  </a:cubicBezTo>
                  <a:lnTo>
                    <a:pt x="142" y="22"/>
                  </a:lnTo>
                  <a:close/>
                  <a:moveTo>
                    <a:pt x="123" y="40"/>
                  </a:moveTo>
                  <a:cubicBezTo>
                    <a:pt x="102" y="72"/>
                    <a:pt x="69" y="109"/>
                    <a:pt x="58" y="92"/>
                  </a:cubicBezTo>
                  <a:cubicBezTo>
                    <a:pt x="54" y="86"/>
                    <a:pt x="56" y="68"/>
                    <a:pt x="78" y="40"/>
                  </a:cubicBezTo>
                  <a:cubicBezTo>
                    <a:pt x="106" y="5"/>
                    <a:pt x="141" y="13"/>
                    <a:pt x="123" y="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2" name="Freeform 23"/>
            <p:cNvSpPr>
              <a:spLocks/>
            </p:cNvSpPr>
            <p:nvPr/>
          </p:nvSpPr>
          <p:spPr bwMode="auto">
            <a:xfrm>
              <a:off x="7723188" y="3400425"/>
              <a:ext cx="303212" cy="584200"/>
            </a:xfrm>
            <a:custGeom>
              <a:avLst/>
              <a:gdLst>
                <a:gd name="T0" fmla="*/ 79 w 81"/>
                <a:gd name="T1" fmla="*/ 18 h 156"/>
                <a:gd name="T2" fmla="*/ 51 w 81"/>
                <a:gd name="T3" fmla="*/ 0 h 156"/>
                <a:gd name="T4" fmla="*/ 6 w 81"/>
                <a:gd name="T5" fmla="*/ 116 h 156"/>
                <a:gd name="T6" fmla="*/ 9 w 81"/>
                <a:gd name="T7" fmla="*/ 152 h 156"/>
                <a:gd name="T8" fmla="*/ 18 w 81"/>
                <a:gd name="T9" fmla="*/ 145 h 156"/>
                <a:gd name="T10" fmla="*/ 75 w 81"/>
                <a:gd name="T11" fmla="*/ 39 h 156"/>
                <a:gd name="T12" fmla="*/ 79 w 81"/>
                <a:gd name="T13" fmla="*/ 1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56">
                  <a:moveTo>
                    <a:pt x="79" y="18"/>
                  </a:moveTo>
                  <a:cubicBezTo>
                    <a:pt x="74" y="11"/>
                    <a:pt x="57" y="2"/>
                    <a:pt x="51" y="0"/>
                  </a:cubicBezTo>
                  <a:cubicBezTo>
                    <a:pt x="39" y="31"/>
                    <a:pt x="20" y="71"/>
                    <a:pt x="6" y="116"/>
                  </a:cubicBezTo>
                  <a:cubicBezTo>
                    <a:pt x="3" y="129"/>
                    <a:pt x="0" y="145"/>
                    <a:pt x="9" y="152"/>
                  </a:cubicBezTo>
                  <a:cubicBezTo>
                    <a:pt x="14" y="156"/>
                    <a:pt x="16" y="150"/>
                    <a:pt x="18" y="145"/>
                  </a:cubicBezTo>
                  <a:cubicBezTo>
                    <a:pt x="37" y="104"/>
                    <a:pt x="73" y="43"/>
                    <a:pt x="75" y="39"/>
                  </a:cubicBezTo>
                  <a:cubicBezTo>
                    <a:pt x="81" y="29"/>
                    <a:pt x="81" y="21"/>
                    <a:pt x="79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3" name="Oval 24"/>
            <p:cNvSpPr>
              <a:spLocks noChangeArrowheads="1"/>
            </p:cNvSpPr>
            <p:nvPr/>
          </p:nvSpPr>
          <p:spPr bwMode="auto">
            <a:xfrm>
              <a:off x="7640638" y="4014788"/>
              <a:ext cx="134937" cy="1317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4" name="Freeform 25"/>
            <p:cNvSpPr>
              <a:spLocks/>
            </p:cNvSpPr>
            <p:nvPr/>
          </p:nvSpPr>
          <p:spPr bwMode="auto">
            <a:xfrm>
              <a:off x="6122988" y="3414713"/>
              <a:ext cx="160337" cy="188913"/>
            </a:xfrm>
            <a:custGeom>
              <a:avLst/>
              <a:gdLst>
                <a:gd name="T0" fmla="*/ 8 w 43"/>
                <a:gd name="T1" fmla="*/ 50 h 50"/>
                <a:gd name="T2" fmla="*/ 43 w 43"/>
                <a:gd name="T3" fmla="*/ 20 h 50"/>
                <a:gd name="T4" fmla="*/ 31 w 43"/>
                <a:gd name="T5" fmla="*/ 4 h 50"/>
                <a:gd name="T6" fmla="*/ 20 w 43"/>
                <a:gd name="T7" fmla="*/ 35 h 50"/>
                <a:gd name="T8" fmla="*/ 3 w 43"/>
                <a:gd name="T9" fmla="*/ 46 h 50"/>
                <a:gd name="T10" fmla="*/ 8 w 43"/>
                <a:gd name="T1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50">
                  <a:moveTo>
                    <a:pt x="8" y="50"/>
                  </a:moveTo>
                  <a:cubicBezTo>
                    <a:pt x="25" y="50"/>
                    <a:pt x="40" y="41"/>
                    <a:pt x="43" y="20"/>
                  </a:cubicBezTo>
                  <a:cubicBezTo>
                    <a:pt x="43" y="18"/>
                    <a:pt x="43" y="6"/>
                    <a:pt x="31" y="4"/>
                  </a:cubicBezTo>
                  <a:cubicBezTo>
                    <a:pt x="7" y="0"/>
                    <a:pt x="2" y="30"/>
                    <a:pt x="20" y="35"/>
                  </a:cubicBezTo>
                  <a:cubicBezTo>
                    <a:pt x="17" y="42"/>
                    <a:pt x="10" y="44"/>
                    <a:pt x="3" y="46"/>
                  </a:cubicBezTo>
                  <a:cubicBezTo>
                    <a:pt x="0" y="47"/>
                    <a:pt x="5" y="50"/>
                    <a:pt x="8" y="5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5" name="Freeform 26"/>
            <p:cNvSpPr>
              <a:spLocks noEditPoints="1"/>
            </p:cNvSpPr>
            <p:nvPr/>
          </p:nvSpPr>
          <p:spPr bwMode="auto">
            <a:xfrm>
              <a:off x="7018338" y="3562350"/>
              <a:ext cx="787400" cy="647700"/>
            </a:xfrm>
            <a:custGeom>
              <a:avLst/>
              <a:gdLst>
                <a:gd name="T0" fmla="*/ 158 w 210"/>
                <a:gd name="T1" fmla="*/ 37 h 173"/>
                <a:gd name="T2" fmla="*/ 71 w 210"/>
                <a:gd name="T3" fmla="*/ 154 h 173"/>
                <a:gd name="T4" fmla="*/ 158 w 210"/>
                <a:gd name="T5" fmla="*/ 37 h 173"/>
                <a:gd name="T6" fmla="*/ 132 w 210"/>
                <a:gd name="T7" fmla="*/ 102 h 173"/>
                <a:gd name="T8" fmla="*/ 120 w 210"/>
                <a:gd name="T9" fmla="*/ 119 h 173"/>
                <a:gd name="T10" fmla="*/ 106 w 210"/>
                <a:gd name="T11" fmla="*/ 132 h 173"/>
                <a:gd name="T12" fmla="*/ 84 w 210"/>
                <a:gd name="T13" fmla="*/ 141 h 173"/>
                <a:gd name="T14" fmla="*/ 90 w 210"/>
                <a:gd name="T15" fmla="*/ 81 h 173"/>
                <a:gd name="T16" fmla="*/ 143 w 210"/>
                <a:gd name="T17" fmla="*/ 41 h 173"/>
                <a:gd name="T18" fmla="*/ 132 w 210"/>
                <a:gd name="T19" fmla="*/ 10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0" h="173">
                  <a:moveTo>
                    <a:pt x="158" y="37"/>
                  </a:moveTo>
                  <a:cubicBezTo>
                    <a:pt x="74" y="0"/>
                    <a:pt x="0" y="135"/>
                    <a:pt x="71" y="154"/>
                  </a:cubicBezTo>
                  <a:cubicBezTo>
                    <a:pt x="138" y="173"/>
                    <a:pt x="210" y="60"/>
                    <a:pt x="158" y="37"/>
                  </a:cubicBezTo>
                  <a:moveTo>
                    <a:pt x="132" y="102"/>
                  </a:moveTo>
                  <a:cubicBezTo>
                    <a:pt x="129" y="107"/>
                    <a:pt x="125" y="113"/>
                    <a:pt x="120" y="119"/>
                  </a:cubicBezTo>
                  <a:cubicBezTo>
                    <a:pt x="114" y="124"/>
                    <a:pt x="110" y="129"/>
                    <a:pt x="106" y="132"/>
                  </a:cubicBezTo>
                  <a:cubicBezTo>
                    <a:pt x="98" y="137"/>
                    <a:pt x="91" y="141"/>
                    <a:pt x="84" y="141"/>
                  </a:cubicBezTo>
                  <a:cubicBezTo>
                    <a:pt x="67" y="140"/>
                    <a:pt x="70" y="108"/>
                    <a:pt x="90" y="81"/>
                  </a:cubicBezTo>
                  <a:cubicBezTo>
                    <a:pt x="105" y="59"/>
                    <a:pt x="127" y="34"/>
                    <a:pt x="143" y="41"/>
                  </a:cubicBezTo>
                  <a:cubicBezTo>
                    <a:pt x="155" y="47"/>
                    <a:pt x="148" y="74"/>
                    <a:pt x="132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702157" y="1181100"/>
            <a:ext cx="727473" cy="996950"/>
            <a:chOff x="4936" y="176"/>
            <a:chExt cx="423" cy="628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r>
                <a:rPr lang="en-US" sz="1200" dirty="0" smtClean="0">
                  <a:solidFill>
                    <a:srgbClr val="6C6F70"/>
                  </a:solidFill>
                  <a:ea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defRPr/>
              </a:pPr>
              <a:endParaRPr lang="en-US" dirty="0" smtClean="0">
                <a:solidFill>
                  <a:srgbClr val="6C6F70"/>
                </a:solidFill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r>
                <a:rPr lang="en-US" sz="1200" dirty="0" smtClean="0">
                  <a:solidFill>
                    <a:srgbClr val="6C6F70"/>
                  </a:solidFill>
                  <a:ea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defRPr/>
              </a:pPr>
              <a:endParaRPr lang="en-US" dirty="0" smtClean="0">
                <a:solidFill>
                  <a:srgbClr val="6C6F70"/>
                </a:solidFill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r>
                <a:rPr lang="en-US" sz="1200" dirty="0" smtClean="0">
                  <a:solidFill>
                    <a:srgbClr val="6C6F70"/>
                  </a:solidFill>
                  <a:ea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defRPr/>
              </a:pPr>
              <a:endParaRPr lang="en-US" dirty="0" smtClean="0">
                <a:solidFill>
                  <a:srgbClr val="6C6F70"/>
                </a:solidFill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r>
                <a:rPr lang="en-US" sz="1200" dirty="0" smtClean="0">
                  <a:solidFill>
                    <a:srgbClr val="6C6F70"/>
                  </a:solidFill>
                  <a:ea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defRPr/>
              </a:pPr>
              <a:endParaRPr lang="en-US" dirty="0" smtClean="0">
                <a:solidFill>
                  <a:srgbClr val="6C6F70"/>
                </a:solidFill>
                <a:ea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368513" y="1181100"/>
            <a:ext cx="1061114" cy="730250"/>
            <a:chOff x="4750" y="176"/>
            <a:chExt cx="617" cy="46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Calibri" pitchFamily="34" charset="0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Calibri" pitchFamily="34" charset="0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Calibri" pitchFamily="34" charset="0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r>
                <a:rPr lang="en-US" sz="1200" dirty="0" smtClean="0">
                  <a:solidFill>
                    <a:srgbClr val="6C6F70"/>
                  </a:solidFill>
                  <a:ea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r>
                <a:rPr lang="en-US" sz="1200" dirty="0" smtClean="0">
                  <a:solidFill>
                    <a:srgbClr val="6C6F70"/>
                  </a:solidFill>
                  <a:ea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r>
                <a:rPr lang="en-US" sz="1200" dirty="0" smtClean="0">
                  <a:solidFill>
                    <a:srgbClr val="6C6F70"/>
                  </a:solidFill>
                  <a:ea typeface="Calibri" pitchFamily="34" charset="0"/>
                  <a:cs typeface="Calibri" pitchFamily="34" charset="0"/>
                </a:rPr>
                <a:t>Legend</a:t>
              </a:r>
            </a:p>
          </p:txBody>
        </p:sp>
      </p:grpSp>
      <p:grpSp>
        <p:nvGrpSpPr>
          <p:cNvPr id="42" name="McKSticker" hidden="1"/>
          <p:cNvGrpSpPr>
            <a:grpSpLocks/>
          </p:cNvGrpSpPr>
          <p:nvPr/>
        </p:nvGrpSpPr>
        <p:grpSpPr bwMode="auto">
          <a:xfrm>
            <a:off x="8577109" y="1181100"/>
            <a:ext cx="886909" cy="212366"/>
            <a:chOff x="7921298" y="285750"/>
            <a:chExt cx="819477" cy="213241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921298" y="285750"/>
              <a:ext cx="819477" cy="21324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r">
                <a:buClr>
                  <a:srgbClr val="000000"/>
                </a:buClr>
                <a:defRPr/>
              </a:pPr>
              <a:r>
                <a:rPr lang="en-US" sz="1200" dirty="0" smtClean="0">
                  <a:solidFill>
                    <a:srgbClr val="808080"/>
                  </a:solidFill>
                  <a:ea typeface="Calibri" pitchFamily="34" charset="0"/>
                  <a:cs typeface="Calibri" pitchFamily="34" charset="0"/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</p:cNvCxnSpPr>
            <p:nvPr/>
          </p:nvCxnSpPr>
          <p:spPr bwMode="auto">
            <a:xfrm>
              <a:off x="792416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</p:cNvCxnSpPr>
            <p:nvPr/>
          </p:nvCxnSpPr>
          <p:spPr bwMode="auto">
            <a:xfrm>
              <a:off x="7924161" y="498116"/>
              <a:ext cx="81661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>
            <a:grpSpLocks/>
          </p:cNvGrpSpPr>
          <p:nvPr/>
        </p:nvGrpSpPr>
        <p:grpSpPr bwMode="auto">
          <a:xfrm>
            <a:off x="8631640" y="1181103"/>
            <a:ext cx="799370" cy="1306513"/>
            <a:chOff x="6655594" y="273840"/>
            <a:chExt cx="737587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6976142" y="286540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r>
                <a:rPr lang="en-US" sz="1200" dirty="0" smtClean="0">
                  <a:solidFill>
                    <a:srgbClr val="6C6F70"/>
                  </a:solidFill>
                  <a:ea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6976142" y="561179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r>
                <a:rPr lang="en-US" sz="1200" dirty="0" smtClean="0">
                  <a:solidFill>
                    <a:srgbClr val="6C6F70"/>
                  </a:solidFill>
                  <a:ea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6976142" y="835816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r>
                <a:rPr lang="en-US" sz="1200" dirty="0" smtClean="0">
                  <a:solidFill>
                    <a:srgbClr val="6C6F70"/>
                  </a:solidFill>
                  <a:ea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6976142" y="1107280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r>
                <a:rPr lang="en-US" sz="1200" dirty="0" smtClean="0">
                  <a:solidFill>
                    <a:srgbClr val="6C6F70"/>
                  </a:solidFill>
                  <a:ea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6976142" y="1383506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r>
                <a:rPr lang="en-US" sz="1200" dirty="0" smtClean="0">
                  <a:solidFill>
                    <a:srgbClr val="6C6F70"/>
                  </a:solidFill>
                  <a:ea typeface="Calibri" pitchFamily="34" charset="0"/>
                  <a:cs typeface="Calibri" pitchFamily="34" charset="0"/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</p:grpSp>
      <p:sp>
        <p:nvSpPr>
          <p:cNvPr id="67" name="Slide Number"/>
          <p:cNvSpPr txBox="1">
            <a:spLocks/>
          </p:cNvSpPr>
          <p:nvPr userDrawn="1"/>
        </p:nvSpPr>
        <p:spPr bwMode="auto">
          <a:xfrm>
            <a:off x="9614775" y="6581825"/>
            <a:ext cx="15078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3FCFF17E-CCE5-45AC-91CD-C6CA7E9767ED}" type="slidenum">
              <a:rPr lang="en-US" smtClean="0">
                <a:solidFill>
                  <a:srgbClr val="6C6F70"/>
                </a:solidFill>
                <a:cs typeface="+mn-cs"/>
              </a:rPr>
              <a:pPr algn="ctr">
                <a:defRPr/>
              </a:pPr>
              <a:t>‹#›</a:t>
            </a:fld>
            <a:endParaRPr lang="en-US" dirty="0">
              <a:solidFill>
                <a:srgbClr val="6C6F70"/>
              </a:solidFill>
              <a:cs typeface="+mn-cs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158725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6924BE-232F-421E-BA3C-C60CDF5449A9}" type="datetime1">
              <a:rPr lang="en-US"/>
              <a:pPr>
                <a:defRPr/>
              </a:pPr>
              <a:t>5/24/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533153-F8FE-4FFA-9315-507B2542ABF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139544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591A0D-6919-451C-BF39-82D6A5BF22C5}" type="datetime1">
              <a:rPr lang="en-US"/>
              <a:pPr>
                <a:defRPr/>
              </a:pPr>
              <a:t>5/24/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CE8668-45F3-427B-ABAD-E43D6855A18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508164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BB4364-5ECA-42DD-B53F-EE685CB6FB7B}" type="datetime1">
              <a:rPr lang="en-US"/>
              <a:pPr>
                <a:defRPr/>
              </a:pPr>
              <a:t>5/24/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7B49CB-23EA-4F46-9996-A4B44F3494C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265209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428E7E-31D3-4577-8919-508B4950313C}" type="datetime1">
              <a:rPr lang="en-US"/>
              <a:pPr>
                <a:defRPr/>
              </a:pPr>
              <a:t>5/24/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757E64-B67C-4530-B24C-1D9F7F22CAA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274568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D3EDDE-010A-4BB5-A783-631801A40685}" type="datetime1">
              <a:rPr lang="en-US"/>
              <a:pPr>
                <a:defRPr/>
              </a:pPr>
              <a:t>5/24/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66AB8B-80C4-44A0-9250-3592117D617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781640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3"/>
          <a:ext cx="175419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637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292"/>
                      <p:cNvPicPr>
                        <a:picLocks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3"/>
                        <a:ext cx="175419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/>
          <p:cNvSpPr>
            <a:spLocks noChangeArrowheads="1"/>
          </p:cNvSpPr>
          <p:nvPr/>
        </p:nvSpPr>
        <p:spPr bwMode="auto">
          <a:xfrm>
            <a:off x="8739981" y="36513"/>
            <a:ext cx="724033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912813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912813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912813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912813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endParaRPr lang="de-DE" altLang="de-DE" sz="800" smtClean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9001462" y="2562892"/>
            <a:ext cx="165429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dirty="0" smtClean="0">
                <a:solidFill>
                  <a:srgbClr val="6C6F70"/>
                </a:solidFill>
                <a:latin typeface="Calibri"/>
                <a:cs typeface="+mn-cs"/>
              </a:rPr>
              <a:t>Last Modified 05/12/2013 06:36 GMT Standard Time</a:t>
            </a:r>
            <a:endParaRPr lang="en-US" dirty="0" smtClean="0">
              <a:solidFill>
                <a:srgbClr val="6C6F70"/>
              </a:solidFill>
              <a:latin typeface="Calibri"/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9713194" y="4780629"/>
            <a:ext cx="23083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6C6F70"/>
                </a:solidFill>
                <a:latin typeface="Calibri"/>
                <a:cs typeface="+mn-cs"/>
              </a:rPr>
              <a:t>Printed</a:t>
            </a:r>
            <a:endParaRPr lang="en-US" dirty="0" smtClean="0">
              <a:solidFill>
                <a:srgbClr val="6C6F70"/>
              </a:solidFill>
              <a:latin typeface="Calibri"/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441989" y="26988"/>
            <a:ext cx="66300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de-DE" sz="1400" dirty="0" smtClean="0">
                <a:solidFill>
                  <a:srgbClr val="808080"/>
                </a:solidFill>
                <a:latin typeface="Calibri" pitchFamily="34" charset="0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441989" y="1117603"/>
            <a:ext cx="9022027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Calibri"/>
                <a:cs typeface="+mn-cs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441989" y="6026150"/>
            <a:ext cx="9022027" cy="381000"/>
            <a:chOff x="75" y="3915"/>
            <a:chExt cx="5385" cy="23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15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5250" indent="-95250">
                <a:defRPr/>
              </a:pPr>
              <a:r>
                <a:rPr lang="en-US" sz="1000" dirty="0" smtClean="0">
                  <a:solidFill>
                    <a:srgbClr val="6C6F70"/>
                  </a:solidFill>
                  <a:latin typeface="Calibri"/>
                  <a:cs typeface="+mn-cs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379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485775" indent="-485775" defTabSz="91281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91281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91281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91281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91281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de-DE" sz="1000" dirty="0" smtClean="0">
                  <a:solidFill>
                    <a:srgbClr val="6C6F70"/>
                  </a:solidFill>
                  <a:latin typeface="Calibri" pitchFamily="34" charset="0"/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25158" y="2032003"/>
            <a:ext cx="4713950" cy="519113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de-DE" b="1" dirty="0" smtClean="0">
                  <a:solidFill>
                    <a:srgbClr val="6C6F70"/>
                  </a:solidFill>
                  <a:latin typeface="Calibri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de-DE" dirty="0" smtClean="0">
                  <a:solidFill>
                    <a:srgbClr val="808080"/>
                  </a:solidFill>
                  <a:latin typeface="Calibri" pitchFamily="34" charset="0"/>
                </a:rPr>
                <a:t>Unit of measure</a:t>
              </a:r>
            </a:p>
          </p:txBody>
        </p:sp>
      </p:grpSp>
      <p:sp>
        <p:nvSpPr>
          <p:cNvPr id="15" name="Line 8"/>
          <p:cNvSpPr>
            <a:spLocks noChangeShapeType="1"/>
          </p:cNvSpPr>
          <p:nvPr/>
        </p:nvSpPr>
        <p:spPr bwMode="auto">
          <a:xfrm>
            <a:off x="441989" y="1109663"/>
            <a:ext cx="9022027" cy="0"/>
          </a:xfrm>
          <a:prstGeom prst="line">
            <a:avLst/>
          </a:prstGeom>
          <a:noFill/>
          <a:ln w="19050">
            <a:solidFill>
              <a:srgbClr val="F8AC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dirty="0"/>
          </a:p>
        </p:txBody>
      </p:sp>
      <p:pic>
        <p:nvPicPr>
          <p:cNvPr id="16" name="Picture 3" descr="F:\00_eldorado\Thomas Cook\07 TCLC 09.2013\00 brand design\logos\00 Group\ThomasCook_hori_office.png"/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99509" y="6494466"/>
            <a:ext cx="1755907" cy="22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7" name="Gruppieren 10"/>
          <p:cNvGrpSpPr>
            <a:grpSpLocks noChangeAspect="1"/>
          </p:cNvGrpSpPr>
          <p:nvPr/>
        </p:nvGrpSpPr>
        <p:grpSpPr bwMode="auto">
          <a:xfrm>
            <a:off x="440944" y="6505360"/>
            <a:ext cx="975000" cy="256646"/>
            <a:chOff x="4741863" y="3397250"/>
            <a:chExt cx="3284537" cy="936625"/>
          </a:xfrm>
          <a:solidFill>
            <a:srgbClr val="6C6F70"/>
          </a:solidFill>
        </p:grpSpPr>
        <p:sp>
          <p:nvSpPr>
            <p:cNvPr id="18" name="Freeform 19"/>
            <p:cNvSpPr>
              <a:spLocks/>
            </p:cNvSpPr>
            <p:nvPr/>
          </p:nvSpPr>
          <p:spPr bwMode="auto">
            <a:xfrm>
              <a:off x="6073775" y="3670300"/>
              <a:ext cx="457200" cy="490538"/>
            </a:xfrm>
            <a:custGeom>
              <a:avLst/>
              <a:gdLst>
                <a:gd name="T0" fmla="*/ 92 w 122"/>
                <a:gd name="T1" fmla="*/ 0 h 131"/>
                <a:gd name="T2" fmla="*/ 35 w 122"/>
                <a:gd name="T3" fmla="*/ 28 h 131"/>
                <a:gd name="T4" fmla="*/ 25 w 122"/>
                <a:gd name="T5" fmla="*/ 43 h 131"/>
                <a:gd name="T6" fmla="*/ 45 w 122"/>
                <a:gd name="T7" fmla="*/ 86 h 131"/>
                <a:gd name="T8" fmla="*/ 60 w 122"/>
                <a:gd name="T9" fmla="*/ 99 h 131"/>
                <a:gd name="T10" fmla="*/ 60 w 122"/>
                <a:gd name="T11" fmla="*/ 109 h 131"/>
                <a:gd name="T12" fmla="*/ 17 w 122"/>
                <a:gd name="T13" fmla="*/ 111 h 131"/>
                <a:gd name="T14" fmla="*/ 2 w 122"/>
                <a:gd name="T15" fmla="*/ 101 h 131"/>
                <a:gd name="T16" fmla="*/ 1 w 122"/>
                <a:gd name="T17" fmla="*/ 103 h 131"/>
                <a:gd name="T18" fmla="*/ 2 w 122"/>
                <a:gd name="T19" fmla="*/ 109 h 131"/>
                <a:gd name="T20" fmla="*/ 12 w 122"/>
                <a:gd name="T21" fmla="*/ 119 h 131"/>
                <a:gd name="T22" fmla="*/ 64 w 122"/>
                <a:gd name="T23" fmla="*/ 129 h 131"/>
                <a:gd name="T24" fmla="*/ 80 w 122"/>
                <a:gd name="T25" fmla="*/ 84 h 131"/>
                <a:gd name="T26" fmla="*/ 62 w 122"/>
                <a:gd name="T27" fmla="*/ 46 h 131"/>
                <a:gd name="T28" fmla="*/ 72 w 122"/>
                <a:gd name="T29" fmla="*/ 31 h 131"/>
                <a:gd name="T30" fmla="*/ 110 w 122"/>
                <a:gd name="T31" fmla="*/ 26 h 131"/>
                <a:gd name="T32" fmla="*/ 112 w 122"/>
                <a:gd name="T33" fmla="*/ 34 h 131"/>
                <a:gd name="T34" fmla="*/ 121 w 122"/>
                <a:gd name="T35" fmla="*/ 36 h 131"/>
                <a:gd name="T36" fmla="*/ 121 w 122"/>
                <a:gd name="T37" fmla="*/ 21 h 131"/>
                <a:gd name="T38" fmla="*/ 92 w 122"/>
                <a:gd name="T39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2" h="131">
                  <a:moveTo>
                    <a:pt x="92" y="0"/>
                  </a:moveTo>
                  <a:cubicBezTo>
                    <a:pt x="71" y="0"/>
                    <a:pt x="49" y="12"/>
                    <a:pt x="35" y="28"/>
                  </a:cubicBezTo>
                  <a:cubicBezTo>
                    <a:pt x="31" y="32"/>
                    <a:pt x="27" y="38"/>
                    <a:pt x="25" y="43"/>
                  </a:cubicBezTo>
                  <a:cubicBezTo>
                    <a:pt x="17" y="61"/>
                    <a:pt x="31" y="78"/>
                    <a:pt x="45" y="86"/>
                  </a:cubicBezTo>
                  <a:cubicBezTo>
                    <a:pt x="51" y="89"/>
                    <a:pt x="57" y="93"/>
                    <a:pt x="60" y="99"/>
                  </a:cubicBezTo>
                  <a:cubicBezTo>
                    <a:pt x="61" y="102"/>
                    <a:pt x="61" y="106"/>
                    <a:pt x="60" y="109"/>
                  </a:cubicBezTo>
                  <a:cubicBezTo>
                    <a:pt x="52" y="119"/>
                    <a:pt x="24" y="114"/>
                    <a:pt x="17" y="111"/>
                  </a:cubicBezTo>
                  <a:cubicBezTo>
                    <a:pt x="11" y="108"/>
                    <a:pt x="7" y="104"/>
                    <a:pt x="2" y="101"/>
                  </a:cubicBezTo>
                  <a:cubicBezTo>
                    <a:pt x="2" y="101"/>
                    <a:pt x="1" y="101"/>
                    <a:pt x="1" y="103"/>
                  </a:cubicBezTo>
                  <a:cubicBezTo>
                    <a:pt x="0" y="105"/>
                    <a:pt x="0" y="107"/>
                    <a:pt x="2" y="109"/>
                  </a:cubicBezTo>
                  <a:cubicBezTo>
                    <a:pt x="4" y="113"/>
                    <a:pt x="8" y="116"/>
                    <a:pt x="12" y="119"/>
                  </a:cubicBezTo>
                  <a:cubicBezTo>
                    <a:pt x="27" y="128"/>
                    <a:pt x="46" y="131"/>
                    <a:pt x="64" y="129"/>
                  </a:cubicBezTo>
                  <a:cubicBezTo>
                    <a:pt x="93" y="125"/>
                    <a:pt x="97" y="100"/>
                    <a:pt x="80" y="84"/>
                  </a:cubicBezTo>
                  <a:cubicBezTo>
                    <a:pt x="67" y="73"/>
                    <a:pt x="55" y="65"/>
                    <a:pt x="62" y="46"/>
                  </a:cubicBezTo>
                  <a:cubicBezTo>
                    <a:pt x="64" y="40"/>
                    <a:pt x="68" y="35"/>
                    <a:pt x="72" y="31"/>
                  </a:cubicBezTo>
                  <a:cubicBezTo>
                    <a:pt x="80" y="23"/>
                    <a:pt x="107" y="7"/>
                    <a:pt x="110" y="26"/>
                  </a:cubicBezTo>
                  <a:cubicBezTo>
                    <a:pt x="110" y="30"/>
                    <a:pt x="110" y="31"/>
                    <a:pt x="112" y="34"/>
                  </a:cubicBezTo>
                  <a:cubicBezTo>
                    <a:pt x="113" y="36"/>
                    <a:pt x="118" y="39"/>
                    <a:pt x="121" y="36"/>
                  </a:cubicBezTo>
                  <a:cubicBezTo>
                    <a:pt x="121" y="36"/>
                    <a:pt x="122" y="25"/>
                    <a:pt x="121" y="21"/>
                  </a:cubicBezTo>
                  <a:cubicBezTo>
                    <a:pt x="118" y="10"/>
                    <a:pt x="97" y="0"/>
                    <a:pt x="9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9" name="Freeform 20"/>
            <p:cNvSpPr>
              <a:spLocks/>
            </p:cNvSpPr>
            <p:nvPr/>
          </p:nvSpPr>
          <p:spPr bwMode="auto">
            <a:xfrm>
              <a:off x="4741863" y="3397250"/>
              <a:ext cx="522287" cy="793750"/>
            </a:xfrm>
            <a:custGeom>
              <a:avLst/>
              <a:gdLst>
                <a:gd name="T0" fmla="*/ 122 w 139"/>
                <a:gd name="T1" fmla="*/ 186 h 212"/>
                <a:gd name="T2" fmla="*/ 41 w 139"/>
                <a:gd name="T3" fmla="*/ 190 h 212"/>
                <a:gd name="T4" fmla="*/ 115 w 139"/>
                <a:gd name="T5" fmla="*/ 58 h 212"/>
                <a:gd name="T6" fmla="*/ 132 w 139"/>
                <a:gd name="T7" fmla="*/ 25 h 212"/>
                <a:gd name="T8" fmla="*/ 131 w 139"/>
                <a:gd name="T9" fmla="*/ 17 h 212"/>
                <a:gd name="T10" fmla="*/ 118 w 139"/>
                <a:gd name="T11" fmla="*/ 0 h 212"/>
                <a:gd name="T12" fmla="*/ 114 w 139"/>
                <a:gd name="T13" fmla="*/ 1 h 212"/>
                <a:gd name="T14" fmla="*/ 101 w 139"/>
                <a:gd name="T15" fmla="*/ 18 h 212"/>
                <a:gd name="T16" fmla="*/ 50 w 139"/>
                <a:gd name="T17" fmla="*/ 92 h 212"/>
                <a:gd name="T18" fmla="*/ 29 w 139"/>
                <a:gd name="T19" fmla="*/ 128 h 212"/>
                <a:gd name="T20" fmla="*/ 6 w 139"/>
                <a:gd name="T21" fmla="*/ 172 h 212"/>
                <a:gd name="T22" fmla="*/ 23 w 139"/>
                <a:gd name="T23" fmla="*/ 208 h 212"/>
                <a:gd name="T24" fmla="*/ 31 w 139"/>
                <a:gd name="T25" fmla="*/ 212 h 212"/>
                <a:gd name="T26" fmla="*/ 136 w 139"/>
                <a:gd name="T27" fmla="*/ 198 h 212"/>
                <a:gd name="T28" fmla="*/ 122 w 139"/>
                <a:gd name="T29" fmla="*/ 186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9" h="212">
                  <a:moveTo>
                    <a:pt x="122" y="186"/>
                  </a:moveTo>
                  <a:cubicBezTo>
                    <a:pt x="97" y="180"/>
                    <a:pt x="64" y="188"/>
                    <a:pt x="41" y="190"/>
                  </a:cubicBezTo>
                  <a:cubicBezTo>
                    <a:pt x="61" y="154"/>
                    <a:pt x="96" y="91"/>
                    <a:pt x="115" y="58"/>
                  </a:cubicBezTo>
                  <a:cubicBezTo>
                    <a:pt x="120" y="49"/>
                    <a:pt x="128" y="34"/>
                    <a:pt x="132" y="25"/>
                  </a:cubicBezTo>
                  <a:cubicBezTo>
                    <a:pt x="132" y="25"/>
                    <a:pt x="134" y="22"/>
                    <a:pt x="131" y="17"/>
                  </a:cubicBezTo>
                  <a:cubicBezTo>
                    <a:pt x="130" y="12"/>
                    <a:pt x="119" y="2"/>
                    <a:pt x="118" y="0"/>
                  </a:cubicBezTo>
                  <a:cubicBezTo>
                    <a:pt x="117" y="0"/>
                    <a:pt x="115" y="0"/>
                    <a:pt x="114" y="1"/>
                  </a:cubicBezTo>
                  <a:cubicBezTo>
                    <a:pt x="110" y="6"/>
                    <a:pt x="102" y="15"/>
                    <a:pt x="101" y="18"/>
                  </a:cubicBezTo>
                  <a:cubicBezTo>
                    <a:pt x="97" y="22"/>
                    <a:pt x="59" y="78"/>
                    <a:pt x="50" y="92"/>
                  </a:cubicBezTo>
                  <a:cubicBezTo>
                    <a:pt x="47" y="98"/>
                    <a:pt x="32" y="121"/>
                    <a:pt x="29" y="128"/>
                  </a:cubicBezTo>
                  <a:cubicBezTo>
                    <a:pt x="19" y="146"/>
                    <a:pt x="12" y="159"/>
                    <a:pt x="6" y="172"/>
                  </a:cubicBezTo>
                  <a:cubicBezTo>
                    <a:pt x="0" y="192"/>
                    <a:pt x="16" y="203"/>
                    <a:pt x="23" y="208"/>
                  </a:cubicBezTo>
                  <a:cubicBezTo>
                    <a:pt x="23" y="208"/>
                    <a:pt x="28" y="212"/>
                    <a:pt x="31" y="212"/>
                  </a:cubicBezTo>
                  <a:cubicBezTo>
                    <a:pt x="45" y="212"/>
                    <a:pt x="106" y="198"/>
                    <a:pt x="136" y="198"/>
                  </a:cubicBezTo>
                  <a:cubicBezTo>
                    <a:pt x="139" y="197"/>
                    <a:pt x="130" y="191"/>
                    <a:pt x="122" y="18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0" name="Freeform 21"/>
            <p:cNvSpPr>
              <a:spLocks noEditPoints="1"/>
            </p:cNvSpPr>
            <p:nvPr/>
          </p:nvSpPr>
          <p:spPr bwMode="auto">
            <a:xfrm>
              <a:off x="5222875" y="3449638"/>
              <a:ext cx="917575" cy="752475"/>
            </a:xfrm>
            <a:custGeom>
              <a:avLst/>
              <a:gdLst>
                <a:gd name="T0" fmla="*/ 242 w 245"/>
                <a:gd name="T1" fmla="*/ 68 h 201"/>
                <a:gd name="T2" fmla="*/ 243 w 245"/>
                <a:gd name="T3" fmla="*/ 64 h 201"/>
                <a:gd name="T4" fmla="*/ 209 w 245"/>
                <a:gd name="T5" fmla="*/ 58 h 201"/>
                <a:gd name="T6" fmla="*/ 223 w 245"/>
                <a:gd name="T7" fmla="*/ 35 h 201"/>
                <a:gd name="T8" fmla="*/ 224 w 245"/>
                <a:gd name="T9" fmla="*/ 21 h 201"/>
                <a:gd name="T10" fmla="*/ 207 w 245"/>
                <a:gd name="T11" fmla="*/ 1 h 201"/>
                <a:gd name="T12" fmla="*/ 203 w 245"/>
                <a:gd name="T13" fmla="*/ 2 h 201"/>
                <a:gd name="T14" fmla="*/ 202 w 245"/>
                <a:gd name="T15" fmla="*/ 8 h 201"/>
                <a:gd name="T16" fmla="*/ 172 w 245"/>
                <a:gd name="T17" fmla="*/ 58 h 201"/>
                <a:gd name="T18" fmla="*/ 142 w 245"/>
                <a:gd name="T19" fmla="*/ 58 h 201"/>
                <a:gd name="T20" fmla="*/ 139 w 245"/>
                <a:gd name="T21" fmla="*/ 61 h 201"/>
                <a:gd name="T22" fmla="*/ 145 w 245"/>
                <a:gd name="T23" fmla="*/ 68 h 201"/>
                <a:gd name="T24" fmla="*/ 166 w 245"/>
                <a:gd name="T25" fmla="*/ 68 h 201"/>
                <a:gd name="T26" fmla="*/ 134 w 245"/>
                <a:gd name="T27" fmla="*/ 124 h 201"/>
                <a:gd name="T28" fmla="*/ 126 w 245"/>
                <a:gd name="T29" fmla="*/ 137 h 201"/>
                <a:gd name="T30" fmla="*/ 52 w 245"/>
                <a:gd name="T31" fmla="*/ 166 h 201"/>
                <a:gd name="T32" fmla="*/ 48 w 245"/>
                <a:gd name="T33" fmla="*/ 134 h 201"/>
                <a:gd name="T34" fmla="*/ 91 w 245"/>
                <a:gd name="T35" fmla="*/ 132 h 201"/>
                <a:gd name="T36" fmla="*/ 116 w 245"/>
                <a:gd name="T37" fmla="*/ 65 h 201"/>
                <a:gd name="T38" fmla="*/ 40 w 245"/>
                <a:gd name="T39" fmla="*/ 89 h 201"/>
                <a:gd name="T40" fmla="*/ 28 w 245"/>
                <a:gd name="T41" fmla="*/ 187 h 201"/>
                <a:gd name="T42" fmla="*/ 122 w 245"/>
                <a:gd name="T43" fmla="*/ 154 h 201"/>
                <a:gd name="T44" fmla="*/ 121 w 245"/>
                <a:gd name="T45" fmla="*/ 161 h 201"/>
                <a:gd name="T46" fmla="*/ 129 w 245"/>
                <a:gd name="T47" fmla="*/ 183 h 201"/>
                <a:gd name="T48" fmla="*/ 198 w 245"/>
                <a:gd name="T49" fmla="*/ 150 h 201"/>
                <a:gd name="T50" fmla="*/ 189 w 245"/>
                <a:gd name="T51" fmla="*/ 150 h 201"/>
                <a:gd name="T52" fmla="*/ 158 w 245"/>
                <a:gd name="T53" fmla="*/ 168 h 201"/>
                <a:gd name="T54" fmla="*/ 202 w 245"/>
                <a:gd name="T55" fmla="*/ 68 h 201"/>
                <a:gd name="T56" fmla="*/ 242 w 245"/>
                <a:gd name="T57" fmla="*/ 68 h 201"/>
                <a:gd name="T58" fmla="*/ 106 w 245"/>
                <a:gd name="T59" fmla="*/ 72 h 201"/>
                <a:gd name="T60" fmla="*/ 89 w 245"/>
                <a:gd name="T61" fmla="*/ 111 h 201"/>
                <a:gd name="T62" fmla="*/ 50 w 245"/>
                <a:gd name="T63" fmla="*/ 125 h 201"/>
                <a:gd name="T64" fmla="*/ 106 w 245"/>
                <a:gd name="T65" fmla="*/ 72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5" h="201">
                  <a:moveTo>
                    <a:pt x="242" y="68"/>
                  </a:moveTo>
                  <a:cubicBezTo>
                    <a:pt x="243" y="68"/>
                    <a:pt x="245" y="66"/>
                    <a:pt x="243" y="64"/>
                  </a:cubicBezTo>
                  <a:cubicBezTo>
                    <a:pt x="239" y="59"/>
                    <a:pt x="225" y="58"/>
                    <a:pt x="209" y="58"/>
                  </a:cubicBezTo>
                  <a:cubicBezTo>
                    <a:pt x="212" y="52"/>
                    <a:pt x="221" y="39"/>
                    <a:pt x="223" y="35"/>
                  </a:cubicBezTo>
                  <a:cubicBezTo>
                    <a:pt x="226" y="28"/>
                    <a:pt x="226" y="24"/>
                    <a:pt x="224" y="21"/>
                  </a:cubicBezTo>
                  <a:cubicBezTo>
                    <a:pt x="220" y="16"/>
                    <a:pt x="208" y="3"/>
                    <a:pt x="207" y="1"/>
                  </a:cubicBezTo>
                  <a:cubicBezTo>
                    <a:pt x="205" y="0"/>
                    <a:pt x="203" y="0"/>
                    <a:pt x="203" y="2"/>
                  </a:cubicBezTo>
                  <a:cubicBezTo>
                    <a:pt x="203" y="5"/>
                    <a:pt x="203" y="6"/>
                    <a:pt x="202" y="8"/>
                  </a:cubicBezTo>
                  <a:cubicBezTo>
                    <a:pt x="200" y="13"/>
                    <a:pt x="172" y="58"/>
                    <a:pt x="172" y="58"/>
                  </a:cubicBezTo>
                  <a:cubicBezTo>
                    <a:pt x="142" y="58"/>
                    <a:pt x="142" y="58"/>
                    <a:pt x="142" y="58"/>
                  </a:cubicBezTo>
                  <a:cubicBezTo>
                    <a:pt x="142" y="58"/>
                    <a:pt x="138" y="58"/>
                    <a:pt x="139" y="61"/>
                  </a:cubicBezTo>
                  <a:cubicBezTo>
                    <a:pt x="140" y="64"/>
                    <a:pt x="145" y="68"/>
                    <a:pt x="145" y="68"/>
                  </a:cubicBezTo>
                  <a:cubicBezTo>
                    <a:pt x="154" y="68"/>
                    <a:pt x="166" y="68"/>
                    <a:pt x="166" y="68"/>
                  </a:cubicBezTo>
                  <a:cubicBezTo>
                    <a:pt x="166" y="68"/>
                    <a:pt x="145" y="106"/>
                    <a:pt x="134" y="124"/>
                  </a:cubicBezTo>
                  <a:cubicBezTo>
                    <a:pt x="132" y="128"/>
                    <a:pt x="130" y="133"/>
                    <a:pt x="126" y="137"/>
                  </a:cubicBezTo>
                  <a:cubicBezTo>
                    <a:pt x="117" y="147"/>
                    <a:pt x="82" y="182"/>
                    <a:pt x="52" y="166"/>
                  </a:cubicBezTo>
                  <a:cubicBezTo>
                    <a:pt x="43" y="161"/>
                    <a:pt x="44" y="145"/>
                    <a:pt x="48" y="134"/>
                  </a:cubicBezTo>
                  <a:cubicBezTo>
                    <a:pt x="48" y="134"/>
                    <a:pt x="68" y="145"/>
                    <a:pt x="91" y="132"/>
                  </a:cubicBezTo>
                  <a:cubicBezTo>
                    <a:pt x="124" y="113"/>
                    <a:pt x="142" y="78"/>
                    <a:pt x="116" y="65"/>
                  </a:cubicBezTo>
                  <a:cubicBezTo>
                    <a:pt x="91" y="53"/>
                    <a:pt x="64" y="65"/>
                    <a:pt x="40" y="89"/>
                  </a:cubicBezTo>
                  <a:cubicBezTo>
                    <a:pt x="5" y="126"/>
                    <a:pt x="0" y="175"/>
                    <a:pt x="28" y="187"/>
                  </a:cubicBezTo>
                  <a:cubicBezTo>
                    <a:pt x="59" y="201"/>
                    <a:pt x="99" y="179"/>
                    <a:pt x="122" y="154"/>
                  </a:cubicBezTo>
                  <a:cubicBezTo>
                    <a:pt x="121" y="156"/>
                    <a:pt x="121" y="159"/>
                    <a:pt x="121" y="161"/>
                  </a:cubicBezTo>
                  <a:cubicBezTo>
                    <a:pt x="121" y="168"/>
                    <a:pt x="122" y="179"/>
                    <a:pt x="129" y="183"/>
                  </a:cubicBezTo>
                  <a:cubicBezTo>
                    <a:pt x="152" y="199"/>
                    <a:pt x="185" y="168"/>
                    <a:pt x="198" y="150"/>
                  </a:cubicBezTo>
                  <a:cubicBezTo>
                    <a:pt x="200" y="148"/>
                    <a:pt x="191" y="148"/>
                    <a:pt x="189" y="150"/>
                  </a:cubicBezTo>
                  <a:cubicBezTo>
                    <a:pt x="180" y="156"/>
                    <a:pt x="164" y="173"/>
                    <a:pt x="158" y="168"/>
                  </a:cubicBezTo>
                  <a:cubicBezTo>
                    <a:pt x="151" y="161"/>
                    <a:pt x="181" y="102"/>
                    <a:pt x="202" y="68"/>
                  </a:cubicBezTo>
                  <a:cubicBezTo>
                    <a:pt x="216" y="67"/>
                    <a:pt x="233" y="68"/>
                    <a:pt x="242" y="68"/>
                  </a:cubicBezTo>
                  <a:moveTo>
                    <a:pt x="106" y="72"/>
                  </a:moveTo>
                  <a:cubicBezTo>
                    <a:pt x="113" y="74"/>
                    <a:pt x="98" y="102"/>
                    <a:pt x="89" y="111"/>
                  </a:cubicBezTo>
                  <a:cubicBezTo>
                    <a:pt x="71" y="129"/>
                    <a:pt x="50" y="125"/>
                    <a:pt x="50" y="125"/>
                  </a:cubicBezTo>
                  <a:cubicBezTo>
                    <a:pt x="58" y="99"/>
                    <a:pt x="96" y="70"/>
                    <a:pt x="106" y="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1" name="Freeform 22"/>
            <p:cNvSpPr>
              <a:spLocks noEditPoints="1"/>
            </p:cNvSpPr>
            <p:nvPr/>
          </p:nvSpPr>
          <p:spPr bwMode="auto">
            <a:xfrm>
              <a:off x="6613525" y="3644900"/>
              <a:ext cx="636587" cy="688975"/>
            </a:xfrm>
            <a:custGeom>
              <a:avLst/>
              <a:gdLst>
                <a:gd name="T0" fmla="*/ 142 w 170"/>
                <a:gd name="T1" fmla="*/ 22 h 184"/>
                <a:gd name="T2" fmla="*/ 130 w 170"/>
                <a:gd name="T3" fmla="*/ 4 h 184"/>
                <a:gd name="T4" fmla="*/ 44 w 170"/>
                <a:gd name="T5" fmla="*/ 42 h 184"/>
                <a:gd name="T6" fmla="*/ 28 w 170"/>
                <a:gd name="T7" fmla="*/ 120 h 184"/>
                <a:gd name="T8" fmla="*/ 100 w 170"/>
                <a:gd name="T9" fmla="*/ 88 h 184"/>
                <a:gd name="T10" fmla="*/ 78 w 170"/>
                <a:gd name="T11" fmla="*/ 133 h 184"/>
                <a:gd name="T12" fmla="*/ 40 w 170"/>
                <a:gd name="T13" fmla="*/ 166 h 184"/>
                <a:gd name="T14" fmla="*/ 12 w 170"/>
                <a:gd name="T15" fmla="*/ 142 h 184"/>
                <a:gd name="T16" fmla="*/ 0 w 170"/>
                <a:gd name="T17" fmla="*/ 153 h 184"/>
                <a:gd name="T18" fmla="*/ 45 w 170"/>
                <a:gd name="T19" fmla="*/ 180 h 184"/>
                <a:gd name="T20" fmla="*/ 134 w 170"/>
                <a:gd name="T21" fmla="*/ 84 h 184"/>
                <a:gd name="T22" fmla="*/ 167 w 170"/>
                <a:gd name="T23" fmla="*/ 23 h 184"/>
                <a:gd name="T24" fmla="*/ 144 w 170"/>
                <a:gd name="T25" fmla="*/ 19 h 184"/>
                <a:gd name="T26" fmla="*/ 142 w 170"/>
                <a:gd name="T27" fmla="*/ 22 h 184"/>
                <a:gd name="T28" fmla="*/ 123 w 170"/>
                <a:gd name="T29" fmla="*/ 40 h 184"/>
                <a:gd name="T30" fmla="*/ 58 w 170"/>
                <a:gd name="T31" fmla="*/ 92 h 184"/>
                <a:gd name="T32" fmla="*/ 78 w 170"/>
                <a:gd name="T33" fmla="*/ 40 h 184"/>
                <a:gd name="T34" fmla="*/ 123 w 170"/>
                <a:gd name="T35" fmla="*/ 4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84">
                  <a:moveTo>
                    <a:pt x="142" y="22"/>
                  </a:moveTo>
                  <a:cubicBezTo>
                    <a:pt x="142" y="22"/>
                    <a:pt x="141" y="9"/>
                    <a:pt x="130" y="4"/>
                  </a:cubicBezTo>
                  <a:cubicBezTo>
                    <a:pt x="119" y="0"/>
                    <a:pt x="76" y="3"/>
                    <a:pt x="44" y="42"/>
                  </a:cubicBezTo>
                  <a:cubicBezTo>
                    <a:pt x="18" y="75"/>
                    <a:pt x="13" y="104"/>
                    <a:pt x="28" y="120"/>
                  </a:cubicBezTo>
                  <a:cubicBezTo>
                    <a:pt x="39" y="131"/>
                    <a:pt x="69" y="128"/>
                    <a:pt x="100" y="88"/>
                  </a:cubicBezTo>
                  <a:cubicBezTo>
                    <a:pt x="99" y="90"/>
                    <a:pt x="81" y="127"/>
                    <a:pt x="78" y="133"/>
                  </a:cubicBezTo>
                  <a:cubicBezTo>
                    <a:pt x="67" y="152"/>
                    <a:pt x="49" y="165"/>
                    <a:pt x="40" y="166"/>
                  </a:cubicBezTo>
                  <a:cubicBezTo>
                    <a:pt x="17" y="170"/>
                    <a:pt x="13" y="151"/>
                    <a:pt x="12" y="142"/>
                  </a:cubicBezTo>
                  <a:cubicBezTo>
                    <a:pt x="12" y="141"/>
                    <a:pt x="0" y="142"/>
                    <a:pt x="0" y="153"/>
                  </a:cubicBezTo>
                  <a:cubicBezTo>
                    <a:pt x="0" y="168"/>
                    <a:pt x="17" y="184"/>
                    <a:pt x="45" y="180"/>
                  </a:cubicBezTo>
                  <a:cubicBezTo>
                    <a:pt x="94" y="173"/>
                    <a:pt x="112" y="134"/>
                    <a:pt x="134" y="84"/>
                  </a:cubicBezTo>
                  <a:cubicBezTo>
                    <a:pt x="137" y="77"/>
                    <a:pt x="153" y="42"/>
                    <a:pt x="167" y="23"/>
                  </a:cubicBezTo>
                  <a:cubicBezTo>
                    <a:pt x="170" y="20"/>
                    <a:pt x="148" y="15"/>
                    <a:pt x="144" y="19"/>
                  </a:cubicBezTo>
                  <a:lnTo>
                    <a:pt x="142" y="22"/>
                  </a:lnTo>
                  <a:close/>
                  <a:moveTo>
                    <a:pt x="123" y="40"/>
                  </a:moveTo>
                  <a:cubicBezTo>
                    <a:pt x="102" y="72"/>
                    <a:pt x="69" y="109"/>
                    <a:pt x="58" y="92"/>
                  </a:cubicBezTo>
                  <a:cubicBezTo>
                    <a:pt x="54" y="86"/>
                    <a:pt x="56" y="68"/>
                    <a:pt x="78" y="40"/>
                  </a:cubicBezTo>
                  <a:cubicBezTo>
                    <a:pt x="106" y="5"/>
                    <a:pt x="141" y="13"/>
                    <a:pt x="123" y="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2" name="Freeform 23"/>
            <p:cNvSpPr>
              <a:spLocks/>
            </p:cNvSpPr>
            <p:nvPr/>
          </p:nvSpPr>
          <p:spPr bwMode="auto">
            <a:xfrm>
              <a:off x="7723188" y="3400425"/>
              <a:ext cx="303212" cy="584200"/>
            </a:xfrm>
            <a:custGeom>
              <a:avLst/>
              <a:gdLst>
                <a:gd name="T0" fmla="*/ 79 w 81"/>
                <a:gd name="T1" fmla="*/ 18 h 156"/>
                <a:gd name="T2" fmla="*/ 51 w 81"/>
                <a:gd name="T3" fmla="*/ 0 h 156"/>
                <a:gd name="T4" fmla="*/ 6 w 81"/>
                <a:gd name="T5" fmla="*/ 116 h 156"/>
                <a:gd name="T6" fmla="*/ 9 w 81"/>
                <a:gd name="T7" fmla="*/ 152 h 156"/>
                <a:gd name="T8" fmla="*/ 18 w 81"/>
                <a:gd name="T9" fmla="*/ 145 h 156"/>
                <a:gd name="T10" fmla="*/ 75 w 81"/>
                <a:gd name="T11" fmla="*/ 39 h 156"/>
                <a:gd name="T12" fmla="*/ 79 w 81"/>
                <a:gd name="T13" fmla="*/ 1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56">
                  <a:moveTo>
                    <a:pt x="79" y="18"/>
                  </a:moveTo>
                  <a:cubicBezTo>
                    <a:pt x="74" y="11"/>
                    <a:pt x="57" y="2"/>
                    <a:pt x="51" y="0"/>
                  </a:cubicBezTo>
                  <a:cubicBezTo>
                    <a:pt x="39" y="31"/>
                    <a:pt x="20" y="71"/>
                    <a:pt x="6" y="116"/>
                  </a:cubicBezTo>
                  <a:cubicBezTo>
                    <a:pt x="3" y="129"/>
                    <a:pt x="0" y="145"/>
                    <a:pt x="9" y="152"/>
                  </a:cubicBezTo>
                  <a:cubicBezTo>
                    <a:pt x="14" y="156"/>
                    <a:pt x="16" y="150"/>
                    <a:pt x="18" y="145"/>
                  </a:cubicBezTo>
                  <a:cubicBezTo>
                    <a:pt x="37" y="104"/>
                    <a:pt x="73" y="43"/>
                    <a:pt x="75" y="39"/>
                  </a:cubicBezTo>
                  <a:cubicBezTo>
                    <a:pt x="81" y="29"/>
                    <a:pt x="81" y="21"/>
                    <a:pt x="79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3" name="Oval 24"/>
            <p:cNvSpPr>
              <a:spLocks noChangeArrowheads="1"/>
            </p:cNvSpPr>
            <p:nvPr/>
          </p:nvSpPr>
          <p:spPr bwMode="auto">
            <a:xfrm>
              <a:off x="7640638" y="4014788"/>
              <a:ext cx="134937" cy="1317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4" name="Freeform 25"/>
            <p:cNvSpPr>
              <a:spLocks/>
            </p:cNvSpPr>
            <p:nvPr/>
          </p:nvSpPr>
          <p:spPr bwMode="auto">
            <a:xfrm>
              <a:off x="6122988" y="3414713"/>
              <a:ext cx="160337" cy="188913"/>
            </a:xfrm>
            <a:custGeom>
              <a:avLst/>
              <a:gdLst>
                <a:gd name="T0" fmla="*/ 8 w 43"/>
                <a:gd name="T1" fmla="*/ 50 h 50"/>
                <a:gd name="T2" fmla="*/ 43 w 43"/>
                <a:gd name="T3" fmla="*/ 20 h 50"/>
                <a:gd name="T4" fmla="*/ 31 w 43"/>
                <a:gd name="T5" fmla="*/ 4 h 50"/>
                <a:gd name="T6" fmla="*/ 20 w 43"/>
                <a:gd name="T7" fmla="*/ 35 h 50"/>
                <a:gd name="T8" fmla="*/ 3 w 43"/>
                <a:gd name="T9" fmla="*/ 46 h 50"/>
                <a:gd name="T10" fmla="*/ 8 w 43"/>
                <a:gd name="T1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50">
                  <a:moveTo>
                    <a:pt x="8" y="50"/>
                  </a:moveTo>
                  <a:cubicBezTo>
                    <a:pt x="25" y="50"/>
                    <a:pt x="40" y="41"/>
                    <a:pt x="43" y="20"/>
                  </a:cubicBezTo>
                  <a:cubicBezTo>
                    <a:pt x="43" y="18"/>
                    <a:pt x="43" y="6"/>
                    <a:pt x="31" y="4"/>
                  </a:cubicBezTo>
                  <a:cubicBezTo>
                    <a:pt x="7" y="0"/>
                    <a:pt x="2" y="30"/>
                    <a:pt x="20" y="35"/>
                  </a:cubicBezTo>
                  <a:cubicBezTo>
                    <a:pt x="17" y="42"/>
                    <a:pt x="10" y="44"/>
                    <a:pt x="3" y="46"/>
                  </a:cubicBezTo>
                  <a:cubicBezTo>
                    <a:pt x="0" y="47"/>
                    <a:pt x="5" y="50"/>
                    <a:pt x="8" y="5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5" name="Freeform 26"/>
            <p:cNvSpPr>
              <a:spLocks noEditPoints="1"/>
            </p:cNvSpPr>
            <p:nvPr/>
          </p:nvSpPr>
          <p:spPr bwMode="auto">
            <a:xfrm>
              <a:off x="7018338" y="3562350"/>
              <a:ext cx="787400" cy="647700"/>
            </a:xfrm>
            <a:custGeom>
              <a:avLst/>
              <a:gdLst>
                <a:gd name="T0" fmla="*/ 158 w 210"/>
                <a:gd name="T1" fmla="*/ 37 h 173"/>
                <a:gd name="T2" fmla="*/ 71 w 210"/>
                <a:gd name="T3" fmla="*/ 154 h 173"/>
                <a:gd name="T4" fmla="*/ 158 w 210"/>
                <a:gd name="T5" fmla="*/ 37 h 173"/>
                <a:gd name="T6" fmla="*/ 132 w 210"/>
                <a:gd name="T7" fmla="*/ 102 h 173"/>
                <a:gd name="T8" fmla="*/ 120 w 210"/>
                <a:gd name="T9" fmla="*/ 119 h 173"/>
                <a:gd name="T10" fmla="*/ 106 w 210"/>
                <a:gd name="T11" fmla="*/ 132 h 173"/>
                <a:gd name="T12" fmla="*/ 84 w 210"/>
                <a:gd name="T13" fmla="*/ 141 h 173"/>
                <a:gd name="T14" fmla="*/ 90 w 210"/>
                <a:gd name="T15" fmla="*/ 81 h 173"/>
                <a:gd name="T16" fmla="*/ 143 w 210"/>
                <a:gd name="T17" fmla="*/ 41 h 173"/>
                <a:gd name="T18" fmla="*/ 132 w 210"/>
                <a:gd name="T19" fmla="*/ 10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0" h="173">
                  <a:moveTo>
                    <a:pt x="158" y="37"/>
                  </a:moveTo>
                  <a:cubicBezTo>
                    <a:pt x="74" y="0"/>
                    <a:pt x="0" y="135"/>
                    <a:pt x="71" y="154"/>
                  </a:cubicBezTo>
                  <a:cubicBezTo>
                    <a:pt x="138" y="173"/>
                    <a:pt x="210" y="60"/>
                    <a:pt x="158" y="37"/>
                  </a:cubicBezTo>
                  <a:moveTo>
                    <a:pt x="132" y="102"/>
                  </a:moveTo>
                  <a:cubicBezTo>
                    <a:pt x="129" y="107"/>
                    <a:pt x="125" y="113"/>
                    <a:pt x="120" y="119"/>
                  </a:cubicBezTo>
                  <a:cubicBezTo>
                    <a:pt x="114" y="124"/>
                    <a:pt x="110" y="129"/>
                    <a:pt x="106" y="132"/>
                  </a:cubicBezTo>
                  <a:cubicBezTo>
                    <a:pt x="98" y="137"/>
                    <a:pt x="91" y="141"/>
                    <a:pt x="84" y="141"/>
                  </a:cubicBezTo>
                  <a:cubicBezTo>
                    <a:pt x="67" y="140"/>
                    <a:pt x="70" y="108"/>
                    <a:pt x="90" y="81"/>
                  </a:cubicBezTo>
                  <a:cubicBezTo>
                    <a:pt x="105" y="59"/>
                    <a:pt x="127" y="34"/>
                    <a:pt x="143" y="41"/>
                  </a:cubicBezTo>
                  <a:cubicBezTo>
                    <a:pt x="155" y="47"/>
                    <a:pt x="148" y="74"/>
                    <a:pt x="132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702157" y="1181100"/>
            <a:ext cx="727473" cy="996950"/>
            <a:chOff x="4936" y="176"/>
            <a:chExt cx="423" cy="628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altLang="de-DE" sz="1200" dirty="0" smtClean="0">
                  <a:solidFill>
                    <a:srgbClr val="6C6F70"/>
                  </a:solidFill>
                  <a:latin typeface="Calibri" pitchFamily="34" charset="0"/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 smtClean="0">
                <a:solidFill>
                  <a:srgbClr val="6C6F70"/>
                </a:solidFill>
                <a:latin typeface="Calibri" pitchFamily="34" charset="0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altLang="de-DE" sz="1200" dirty="0" smtClean="0">
                  <a:solidFill>
                    <a:srgbClr val="6C6F70"/>
                  </a:solidFill>
                  <a:latin typeface="Calibri" pitchFamily="34" charset="0"/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 smtClean="0">
                <a:solidFill>
                  <a:srgbClr val="6C6F70"/>
                </a:solidFill>
                <a:latin typeface="Calibri" pitchFamily="34" charset="0"/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altLang="de-DE" sz="1200" dirty="0" smtClean="0">
                  <a:solidFill>
                    <a:srgbClr val="6C6F70"/>
                  </a:solidFill>
                  <a:latin typeface="Calibri" pitchFamily="34" charset="0"/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 smtClean="0">
                <a:solidFill>
                  <a:srgbClr val="6C6F70"/>
                </a:solidFill>
                <a:latin typeface="Calibri" pitchFamily="34" charset="0"/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altLang="de-DE" sz="1200" dirty="0" smtClean="0">
                  <a:solidFill>
                    <a:srgbClr val="6C6F70"/>
                  </a:solidFill>
                  <a:latin typeface="Calibri" pitchFamily="34" charset="0"/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de-DE" altLang="de-DE" smtClean="0">
                <a:solidFill>
                  <a:srgbClr val="6C6F70"/>
                </a:solidFill>
                <a:latin typeface="Calibri" pitchFamily="34" charset="0"/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368513" y="1181100"/>
            <a:ext cx="1061114" cy="730250"/>
            <a:chOff x="4750" y="176"/>
            <a:chExt cx="617" cy="46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Calibri" pitchFamily="34" charset="0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Calibri" pitchFamily="34" charset="0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Calibri" pitchFamily="34" charset="0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altLang="de-DE" sz="1200" dirty="0" smtClean="0">
                  <a:solidFill>
                    <a:srgbClr val="6C6F70"/>
                  </a:solidFill>
                  <a:latin typeface="Calibri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altLang="de-DE" sz="1200" dirty="0" smtClean="0">
                  <a:solidFill>
                    <a:srgbClr val="6C6F70"/>
                  </a:solidFill>
                  <a:latin typeface="Calibri" pitchFamily="34" charset="0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altLang="de-DE" sz="1200" dirty="0" smtClean="0">
                  <a:solidFill>
                    <a:srgbClr val="6C6F70"/>
                  </a:solidFill>
                  <a:latin typeface="Calibri" pitchFamily="34" charset="0"/>
                </a:rPr>
                <a:t>Legend</a:t>
              </a:r>
            </a:p>
          </p:txBody>
        </p:sp>
      </p:grpSp>
      <p:grpSp>
        <p:nvGrpSpPr>
          <p:cNvPr id="42" name="McKSticker" hidden="1"/>
          <p:cNvGrpSpPr>
            <a:grpSpLocks/>
          </p:cNvGrpSpPr>
          <p:nvPr/>
        </p:nvGrpSpPr>
        <p:grpSpPr bwMode="auto">
          <a:xfrm>
            <a:off x="8577109" y="1181100"/>
            <a:ext cx="886909" cy="212366"/>
            <a:chOff x="7921298" y="285750"/>
            <a:chExt cx="819477" cy="213241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921298" y="285750"/>
              <a:ext cx="819477" cy="21324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algn="r" eaLnBrk="1" hangingPunct="1">
                <a:buClr>
                  <a:srgbClr val="000000"/>
                </a:buClr>
                <a:defRPr/>
              </a:pPr>
              <a:r>
                <a:rPr lang="en-US" altLang="de-DE" sz="1200" dirty="0" smtClean="0">
                  <a:solidFill>
                    <a:srgbClr val="808080"/>
                  </a:solidFill>
                  <a:latin typeface="Calibri" pitchFamily="34" charset="0"/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</p:cNvCxnSpPr>
            <p:nvPr/>
          </p:nvCxnSpPr>
          <p:spPr bwMode="auto">
            <a:xfrm>
              <a:off x="792416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</p:cNvCxnSpPr>
            <p:nvPr/>
          </p:nvCxnSpPr>
          <p:spPr bwMode="auto">
            <a:xfrm>
              <a:off x="7924161" y="498116"/>
              <a:ext cx="81661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>
            <a:grpSpLocks/>
          </p:cNvGrpSpPr>
          <p:nvPr/>
        </p:nvGrpSpPr>
        <p:grpSpPr bwMode="auto">
          <a:xfrm>
            <a:off x="8631632" y="1181103"/>
            <a:ext cx="799369" cy="1306513"/>
            <a:chOff x="6655594" y="273840"/>
            <a:chExt cx="737680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6976182" y="286540"/>
              <a:ext cx="41709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altLang="de-DE" sz="1200" dirty="0" smtClean="0">
                  <a:solidFill>
                    <a:srgbClr val="6C6F70"/>
                  </a:solidFill>
                  <a:latin typeface="Calibri" pitchFamily="34" charset="0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6976182" y="561179"/>
              <a:ext cx="41709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altLang="de-DE" sz="1200" dirty="0" smtClean="0">
                  <a:solidFill>
                    <a:srgbClr val="6C6F70"/>
                  </a:solidFill>
                  <a:latin typeface="Calibri" pitchFamily="34" charset="0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6976182" y="835816"/>
              <a:ext cx="41709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altLang="de-DE" sz="1200" dirty="0" smtClean="0">
                  <a:solidFill>
                    <a:srgbClr val="6C6F70"/>
                  </a:solidFill>
                  <a:latin typeface="Calibri" pitchFamily="34" charset="0"/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6976182" y="1107280"/>
              <a:ext cx="41709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altLang="de-DE" sz="1200" dirty="0" smtClean="0">
                  <a:solidFill>
                    <a:srgbClr val="6C6F70"/>
                  </a:solidFill>
                  <a:latin typeface="Calibri" pitchFamily="34" charset="0"/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6976182" y="1383506"/>
              <a:ext cx="41709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buClr>
                  <a:srgbClr val="000000"/>
                </a:buClr>
                <a:defRPr/>
              </a:pPr>
              <a:r>
                <a:rPr lang="en-US" altLang="de-DE" sz="1200" dirty="0" smtClean="0">
                  <a:solidFill>
                    <a:srgbClr val="6C6F70"/>
                  </a:solidFill>
                  <a:latin typeface="Calibri" pitchFamily="34" charset="0"/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</p:grpSp>
      <p:sp>
        <p:nvSpPr>
          <p:cNvPr id="67" name="Slide Number"/>
          <p:cNvSpPr txBox="1">
            <a:spLocks/>
          </p:cNvSpPr>
          <p:nvPr userDrawn="1"/>
        </p:nvSpPr>
        <p:spPr bwMode="auto">
          <a:xfrm>
            <a:off x="9614775" y="6581825"/>
            <a:ext cx="15078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5D0C7A05-A40D-4E08-B05D-B17203A042F7}" type="slidenum">
              <a:rPr lang="en-US" smtClean="0">
                <a:solidFill>
                  <a:srgbClr val="6C6F70"/>
                </a:solidFill>
                <a:cs typeface="+mn-cs"/>
              </a:rPr>
              <a:pPr algn="ctr">
                <a:defRPr/>
              </a:pPr>
              <a:t>‹#›</a:t>
            </a:fld>
            <a:endParaRPr lang="en-US" dirty="0">
              <a:solidFill>
                <a:srgbClr val="6C6F70"/>
              </a:solidFill>
              <a:cs typeface="+mn-cs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679973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9616495" y="6581825"/>
            <a:ext cx="15078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9394B5B8-1653-4BEB-892E-EE93D1AB905E}" type="slidenum">
              <a:rPr lang="en-US" smtClean="0">
                <a:solidFill>
                  <a:srgbClr val="6C6F70"/>
                </a:solidFill>
              </a:rPr>
              <a:pPr algn="ctr">
                <a:defRPr/>
              </a:pPr>
              <a:t>‹#›</a:t>
            </a:fld>
            <a:endParaRPr lang="en-US" dirty="0">
              <a:solidFill>
                <a:srgbClr val="6C6F70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7453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5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3" name="Picture 20" descr="F:\00_eldorado\Thomas Cook\07 TCLC 09.2013\00 brand design\logos\00 Group\ThomasCook_hori_office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8106" y="6403975"/>
            <a:ext cx="1754188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28D6BE-2062-4C9B-ABFA-2999E83B514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97479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9616495" y="6581825"/>
            <a:ext cx="15078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3A49C265-28E8-4212-A66D-3BC982F3C011}" type="slidenum">
              <a:rPr lang="en-US" smtClean="0">
                <a:solidFill>
                  <a:srgbClr val="6C6F70"/>
                </a:solidFill>
              </a:rPr>
              <a:pPr algn="ctr">
                <a:defRPr/>
              </a:pPr>
              <a:t>‹#›</a:t>
            </a:fld>
            <a:endParaRPr lang="en-US" dirty="0">
              <a:solidFill>
                <a:srgbClr val="6C6F70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630220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9616495" y="6581825"/>
            <a:ext cx="15078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1504D33C-E8B2-4BEF-916C-8AA1E4D0D245}" type="slidenum">
              <a:rPr lang="en-US" smtClean="0">
                <a:solidFill>
                  <a:srgbClr val="6C6F70"/>
                </a:solidFill>
              </a:rPr>
              <a:pPr algn="ctr">
                <a:defRPr/>
              </a:pPr>
              <a:t>‹#›</a:t>
            </a:fld>
            <a:endParaRPr lang="en-US" dirty="0">
              <a:solidFill>
                <a:srgbClr val="6C6F70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98660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9615636" y="6581825"/>
            <a:ext cx="15078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7127C1DA-A3AE-4245-A169-AD9A2D1D24DF}" type="slidenum">
              <a:rPr lang="en-US" smtClean="0">
                <a:solidFill>
                  <a:srgbClr val="6C6F70"/>
                </a:solidFill>
              </a:rPr>
              <a:pPr algn="ctr">
                <a:defRPr/>
              </a:pPr>
              <a:t>‹#›</a:t>
            </a:fld>
            <a:endParaRPr lang="en-US" dirty="0">
              <a:solidFill>
                <a:srgbClr val="6C6F70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740877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9615636" y="6581825"/>
            <a:ext cx="15078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CDFA642B-475D-471B-9023-A7B97A75F75B}" type="slidenum">
              <a:rPr lang="en-US" smtClean="0">
                <a:solidFill>
                  <a:srgbClr val="6C6F70"/>
                </a:solidFill>
              </a:rPr>
              <a:pPr algn="ctr">
                <a:defRPr/>
              </a:pPr>
              <a:t>‹#›</a:t>
            </a:fld>
            <a:endParaRPr lang="en-US" dirty="0">
              <a:solidFill>
                <a:srgbClr val="6C6F70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340706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9615636" y="6581825"/>
            <a:ext cx="15078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47907C19-CCA1-4335-AB6C-17A0D218622A}" type="slidenum">
              <a:rPr lang="en-US" smtClean="0">
                <a:solidFill>
                  <a:srgbClr val="6C6F70"/>
                </a:solidFill>
              </a:rPr>
              <a:pPr algn="ctr">
                <a:defRPr/>
              </a:pPr>
              <a:t>‹#›</a:t>
            </a:fld>
            <a:endParaRPr lang="en-US" dirty="0">
              <a:solidFill>
                <a:srgbClr val="6C6F70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588013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9615636" y="6581825"/>
            <a:ext cx="15078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3CA7CE7B-7CCA-4094-A5A1-DC71DBCB3C14}" type="slidenum">
              <a:rPr lang="en-US" smtClean="0">
                <a:solidFill>
                  <a:srgbClr val="6C6F70"/>
                </a:solidFill>
              </a:rPr>
              <a:pPr algn="ctr">
                <a:defRPr/>
              </a:pPr>
              <a:t>‹#›</a:t>
            </a:fld>
            <a:endParaRPr lang="en-US" dirty="0">
              <a:solidFill>
                <a:srgbClr val="6C6F70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496785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9615636" y="6581825"/>
            <a:ext cx="15078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68A3AFEE-86AF-4F8F-9DEE-13EC343F6648}" type="slidenum">
              <a:rPr lang="en-US" smtClean="0">
                <a:solidFill>
                  <a:srgbClr val="6C6F70"/>
                </a:solidFill>
              </a:rPr>
              <a:pPr algn="ctr">
                <a:defRPr/>
              </a:pPr>
              <a:t>‹#›</a:t>
            </a:fld>
            <a:endParaRPr lang="en-US" dirty="0">
              <a:solidFill>
                <a:srgbClr val="6C6F70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210152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9615636" y="6581825"/>
            <a:ext cx="15078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B6D8E1B6-7B21-4BD9-82EF-42D0AE4ED85D}" type="slidenum">
              <a:rPr lang="en-US" smtClean="0">
                <a:solidFill>
                  <a:srgbClr val="6C6F70"/>
                </a:solidFill>
              </a:rPr>
              <a:pPr algn="ctr">
                <a:defRPr/>
              </a:pPr>
              <a:t>‹#›</a:t>
            </a:fld>
            <a:endParaRPr lang="en-US" dirty="0">
              <a:solidFill>
                <a:srgbClr val="6C6F70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006783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 bwMode="auto">
          <a:xfrm>
            <a:off x="9615636" y="6581825"/>
            <a:ext cx="15078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65122D52-01C7-480A-A5E7-42C0AC381F69}" type="slidenum">
              <a:rPr lang="en-US" smtClean="0">
                <a:solidFill>
                  <a:srgbClr val="6C6F70"/>
                </a:solidFill>
              </a:rPr>
              <a:pPr algn="ctr">
                <a:defRPr/>
              </a:pPr>
              <a:t>‹#›</a:t>
            </a:fld>
            <a:endParaRPr lang="en-US" dirty="0">
              <a:solidFill>
                <a:srgbClr val="6C6F70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324569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1BD74D-3256-4F5A-9B8E-2C2DE8E9162C}" type="datetime1">
              <a:rPr lang="en-US"/>
              <a:pPr>
                <a:defRPr/>
              </a:pPr>
              <a:t>5/24/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E803B3-8ABC-4E88-B009-6AF078AF390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60987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48538" y="1690025"/>
            <a:ext cx="9024111" cy="1428083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DC1BD8-BBC6-44E8-BD66-774F99F82465}" type="datetime1">
              <a:rPr lang="en-US"/>
              <a:pPr>
                <a:defRPr/>
              </a:pPr>
              <a:t>5/24/2017</a:t>
            </a:fld>
            <a:endParaRPr lang="en-US" dirty="0"/>
          </a:p>
        </p:txBody>
      </p:sp>
      <p:sp>
        <p:nvSpPr>
          <p:cNvPr id="5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9CBE7C-E770-47FB-84F3-C6A950116EF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148831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7B4FD8-036D-4960-9F96-701D3960EFE5}" type="datetime1">
              <a:rPr lang="en-US"/>
              <a:pPr>
                <a:defRPr/>
              </a:pPr>
              <a:t>5/24/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4C54EB-BF46-4CB6-A68F-70009B82716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631174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130B33-3AB4-4BDF-BEC2-2AFF7FFEF472}" type="datetime1">
              <a:rPr lang="en-US"/>
              <a:pPr>
                <a:defRPr/>
              </a:pPr>
              <a:t>5/24/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655BC2-93D0-4169-AB5B-D0F5FCB0933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72190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5F233A-8276-41BC-8534-9E57F302C59F}" type="datetime1">
              <a:rPr lang="en-US"/>
              <a:pPr>
                <a:defRPr/>
              </a:pPr>
              <a:t>5/24/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27C593-70A7-4DDC-A567-1129B557E03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976719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CC02FA-D1C4-4392-AE2F-33B84775CD56}" type="datetime1">
              <a:rPr lang="en-US"/>
              <a:pPr>
                <a:defRPr/>
              </a:pPr>
              <a:t>5/24/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95E9B4-069F-43A6-A403-17FC1104553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808706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34976E-0AB2-4773-8243-B41BB52803FB}" type="datetime1">
              <a:rPr lang="en-US"/>
              <a:pPr>
                <a:defRPr/>
              </a:pPr>
              <a:t>5/24/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82DAEC-9D7C-4160-8E45-4DD692B09D1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751995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B47410-6638-4488-9719-35A240D90B32}" type="datetime1">
              <a:rPr lang="en-US"/>
              <a:pPr>
                <a:defRPr/>
              </a:pPr>
              <a:t>5/24/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F2953A-FD82-451D-994D-D19A42569B2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670812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1E092D-CEF0-4CF3-9999-3CA9D9A21072}" type="datetime1">
              <a:rPr lang="en-US"/>
              <a:pPr>
                <a:defRPr/>
              </a:pPr>
              <a:t>5/24/2017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34513E-F6F7-426E-B18E-0ADA37AE3B1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339242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3"/>
          <a:ext cx="175419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661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292"/>
                      <p:cNvPicPr>
                        <a:picLocks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3"/>
                        <a:ext cx="175419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oc id"/>
          <p:cNvSpPr>
            <a:spLocks noChangeArrowheads="1"/>
          </p:cNvSpPr>
          <p:nvPr/>
        </p:nvSpPr>
        <p:spPr bwMode="auto">
          <a:xfrm>
            <a:off x="8739981" y="36513"/>
            <a:ext cx="724033" cy="125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912813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defRPr/>
            </a:pPr>
            <a:endParaRPr lang="de-DE" sz="800" smtClean="0">
              <a:solidFill>
                <a:srgbClr val="000000"/>
              </a:solidFill>
            </a:endParaRPr>
          </a:p>
        </p:txBody>
      </p:sp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9001462" y="2562892"/>
            <a:ext cx="165429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dirty="0" smtClean="0">
                <a:solidFill>
                  <a:srgbClr val="6C6F70"/>
                </a:solidFill>
                <a:latin typeface="Calibri"/>
                <a:cs typeface="+mn-cs"/>
              </a:rPr>
              <a:t>Last Modified 05/12/2013 06:36 GMT Standard Time</a:t>
            </a:r>
            <a:endParaRPr lang="en-US" dirty="0" smtClean="0">
              <a:solidFill>
                <a:srgbClr val="6C6F70"/>
              </a:solidFill>
              <a:latin typeface="Calibri"/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9713194" y="4780629"/>
            <a:ext cx="23083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6C6F70"/>
                </a:solidFill>
                <a:latin typeface="Calibri"/>
                <a:cs typeface="+mn-cs"/>
              </a:rPr>
              <a:t>Printed</a:t>
            </a:r>
            <a:endParaRPr lang="en-US" dirty="0" smtClean="0">
              <a:solidFill>
                <a:srgbClr val="6C6F70"/>
              </a:solidFill>
              <a:latin typeface="Calibri"/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441989" y="26988"/>
            <a:ext cx="66300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en-US" sz="1400" dirty="0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441989" y="1117603"/>
            <a:ext cx="9022027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Calibri"/>
                <a:cs typeface="+mn-cs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441989" y="6026150"/>
            <a:ext cx="9022027" cy="381000"/>
            <a:chOff x="75" y="3915"/>
            <a:chExt cx="5385" cy="23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15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5250" indent="-95250">
                <a:defRPr/>
              </a:pPr>
              <a:r>
                <a:rPr lang="en-US" sz="1000" dirty="0" smtClean="0">
                  <a:solidFill>
                    <a:srgbClr val="6C6F70"/>
                  </a:solidFill>
                  <a:latin typeface="Calibri"/>
                  <a:cs typeface="+mn-cs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5379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485775" indent="-485775" defTabSz="912813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6C6F7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25158" y="1978025"/>
            <a:ext cx="4713950" cy="573088"/>
            <a:chOff x="915" y="677"/>
            <a:chExt cx="2686" cy="353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77"/>
              <a:ext cx="2686" cy="35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defRPr/>
              </a:pPr>
              <a:r>
                <a:rPr lang="en-US" b="1" dirty="0" smtClean="0">
                  <a:solidFill>
                    <a:srgbClr val="6C6F70"/>
                  </a:solidFill>
                </a:rPr>
                <a:t>Title</a:t>
              </a:r>
            </a:p>
            <a:p>
              <a:pPr>
                <a:defRPr/>
              </a:pPr>
              <a:r>
                <a:rPr lang="en-US" dirty="0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Line 8"/>
          <p:cNvSpPr>
            <a:spLocks noChangeShapeType="1"/>
          </p:cNvSpPr>
          <p:nvPr/>
        </p:nvSpPr>
        <p:spPr bwMode="auto">
          <a:xfrm>
            <a:off x="441989" y="1109663"/>
            <a:ext cx="9022027" cy="0"/>
          </a:xfrm>
          <a:prstGeom prst="line">
            <a:avLst/>
          </a:prstGeom>
          <a:noFill/>
          <a:ln w="19050">
            <a:solidFill>
              <a:srgbClr val="F8AC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dirty="0"/>
          </a:p>
        </p:txBody>
      </p:sp>
      <p:pic>
        <p:nvPicPr>
          <p:cNvPr id="16" name="Picture 3" descr="F:\00_eldorado\Thomas Cook\07 TCLC 09.2013\00 brand design\logos\00 Group\ThomasCook_hori_office.png"/>
          <p:cNvPicPr>
            <a:picLocks noChangeAspect="1"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99509" y="6494466"/>
            <a:ext cx="1755907" cy="22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7" name="Gruppieren 10"/>
          <p:cNvGrpSpPr>
            <a:grpSpLocks noChangeAspect="1"/>
          </p:cNvGrpSpPr>
          <p:nvPr/>
        </p:nvGrpSpPr>
        <p:grpSpPr bwMode="auto">
          <a:xfrm>
            <a:off x="440944" y="6505360"/>
            <a:ext cx="975000" cy="256646"/>
            <a:chOff x="4741863" y="3397250"/>
            <a:chExt cx="3284537" cy="936625"/>
          </a:xfrm>
          <a:solidFill>
            <a:srgbClr val="6C6F70"/>
          </a:solidFill>
        </p:grpSpPr>
        <p:sp>
          <p:nvSpPr>
            <p:cNvPr id="18" name="Freeform 19"/>
            <p:cNvSpPr>
              <a:spLocks/>
            </p:cNvSpPr>
            <p:nvPr/>
          </p:nvSpPr>
          <p:spPr bwMode="auto">
            <a:xfrm>
              <a:off x="6073775" y="3670300"/>
              <a:ext cx="457200" cy="490538"/>
            </a:xfrm>
            <a:custGeom>
              <a:avLst/>
              <a:gdLst>
                <a:gd name="T0" fmla="*/ 92 w 122"/>
                <a:gd name="T1" fmla="*/ 0 h 131"/>
                <a:gd name="T2" fmla="*/ 35 w 122"/>
                <a:gd name="T3" fmla="*/ 28 h 131"/>
                <a:gd name="T4" fmla="*/ 25 w 122"/>
                <a:gd name="T5" fmla="*/ 43 h 131"/>
                <a:gd name="T6" fmla="*/ 45 w 122"/>
                <a:gd name="T7" fmla="*/ 86 h 131"/>
                <a:gd name="T8" fmla="*/ 60 w 122"/>
                <a:gd name="T9" fmla="*/ 99 h 131"/>
                <a:gd name="T10" fmla="*/ 60 w 122"/>
                <a:gd name="T11" fmla="*/ 109 h 131"/>
                <a:gd name="T12" fmla="*/ 17 w 122"/>
                <a:gd name="T13" fmla="*/ 111 h 131"/>
                <a:gd name="T14" fmla="*/ 2 w 122"/>
                <a:gd name="T15" fmla="*/ 101 h 131"/>
                <a:gd name="T16" fmla="*/ 1 w 122"/>
                <a:gd name="T17" fmla="*/ 103 h 131"/>
                <a:gd name="T18" fmla="*/ 2 w 122"/>
                <a:gd name="T19" fmla="*/ 109 h 131"/>
                <a:gd name="T20" fmla="*/ 12 w 122"/>
                <a:gd name="T21" fmla="*/ 119 h 131"/>
                <a:gd name="T22" fmla="*/ 64 w 122"/>
                <a:gd name="T23" fmla="*/ 129 h 131"/>
                <a:gd name="T24" fmla="*/ 80 w 122"/>
                <a:gd name="T25" fmla="*/ 84 h 131"/>
                <a:gd name="T26" fmla="*/ 62 w 122"/>
                <a:gd name="T27" fmla="*/ 46 h 131"/>
                <a:gd name="T28" fmla="*/ 72 w 122"/>
                <a:gd name="T29" fmla="*/ 31 h 131"/>
                <a:gd name="T30" fmla="*/ 110 w 122"/>
                <a:gd name="T31" fmla="*/ 26 h 131"/>
                <a:gd name="T32" fmla="*/ 112 w 122"/>
                <a:gd name="T33" fmla="*/ 34 h 131"/>
                <a:gd name="T34" fmla="*/ 121 w 122"/>
                <a:gd name="T35" fmla="*/ 36 h 131"/>
                <a:gd name="T36" fmla="*/ 121 w 122"/>
                <a:gd name="T37" fmla="*/ 21 h 131"/>
                <a:gd name="T38" fmla="*/ 92 w 122"/>
                <a:gd name="T39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2" h="131">
                  <a:moveTo>
                    <a:pt x="92" y="0"/>
                  </a:moveTo>
                  <a:cubicBezTo>
                    <a:pt x="71" y="0"/>
                    <a:pt x="49" y="12"/>
                    <a:pt x="35" y="28"/>
                  </a:cubicBezTo>
                  <a:cubicBezTo>
                    <a:pt x="31" y="32"/>
                    <a:pt x="27" y="38"/>
                    <a:pt x="25" y="43"/>
                  </a:cubicBezTo>
                  <a:cubicBezTo>
                    <a:pt x="17" y="61"/>
                    <a:pt x="31" y="78"/>
                    <a:pt x="45" y="86"/>
                  </a:cubicBezTo>
                  <a:cubicBezTo>
                    <a:pt x="51" y="89"/>
                    <a:pt x="57" y="93"/>
                    <a:pt x="60" y="99"/>
                  </a:cubicBezTo>
                  <a:cubicBezTo>
                    <a:pt x="61" y="102"/>
                    <a:pt x="61" y="106"/>
                    <a:pt x="60" y="109"/>
                  </a:cubicBezTo>
                  <a:cubicBezTo>
                    <a:pt x="52" y="119"/>
                    <a:pt x="24" y="114"/>
                    <a:pt x="17" y="111"/>
                  </a:cubicBezTo>
                  <a:cubicBezTo>
                    <a:pt x="11" y="108"/>
                    <a:pt x="7" y="104"/>
                    <a:pt x="2" y="101"/>
                  </a:cubicBezTo>
                  <a:cubicBezTo>
                    <a:pt x="2" y="101"/>
                    <a:pt x="1" y="101"/>
                    <a:pt x="1" y="103"/>
                  </a:cubicBezTo>
                  <a:cubicBezTo>
                    <a:pt x="0" y="105"/>
                    <a:pt x="0" y="107"/>
                    <a:pt x="2" y="109"/>
                  </a:cubicBezTo>
                  <a:cubicBezTo>
                    <a:pt x="4" y="113"/>
                    <a:pt x="8" y="116"/>
                    <a:pt x="12" y="119"/>
                  </a:cubicBezTo>
                  <a:cubicBezTo>
                    <a:pt x="27" y="128"/>
                    <a:pt x="46" y="131"/>
                    <a:pt x="64" y="129"/>
                  </a:cubicBezTo>
                  <a:cubicBezTo>
                    <a:pt x="93" y="125"/>
                    <a:pt x="97" y="100"/>
                    <a:pt x="80" y="84"/>
                  </a:cubicBezTo>
                  <a:cubicBezTo>
                    <a:pt x="67" y="73"/>
                    <a:pt x="55" y="65"/>
                    <a:pt x="62" y="46"/>
                  </a:cubicBezTo>
                  <a:cubicBezTo>
                    <a:pt x="64" y="40"/>
                    <a:pt x="68" y="35"/>
                    <a:pt x="72" y="31"/>
                  </a:cubicBezTo>
                  <a:cubicBezTo>
                    <a:pt x="80" y="23"/>
                    <a:pt x="107" y="7"/>
                    <a:pt x="110" y="26"/>
                  </a:cubicBezTo>
                  <a:cubicBezTo>
                    <a:pt x="110" y="30"/>
                    <a:pt x="110" y="31"/>
                    <a:pt x="112" y="34"/>
                  </a:cubicBezTo>
                  <a:cubicBezTo>
                    <a:pt x="113" y="36"/>
                    <a:pt x="118" y="39"/>
                    <a:pt x="121" y="36"/>
                  </a:cubicBezTo>
                  <a:cubicBezTo>
                    <a:pt x="121" y="36"/>
                    <a:pt x="122" y="25"/>
                    <a:pt x="121" y="21"/>
                  </a:cubicBezTo>
                  <a:cubicBezTo>
                    <a:pt x="118" y="10"/>
                    <a:pt x="97" y="0"/>
                    <a:pt x="9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19" name="Freeform 20"/>
            <p:cNvSpPr>
              <a:spLocks/>
            </p:cNvSpPr>
            <p:nvPr/>
          </p:nvSpPr>
          <p:spPr bwMode="auto">
            <a:xfrm>
              <a:off x="4741863" y="3397250"/>
              <a:ext cx="522287" cy="793750"/>
            </a:xfrm>
            <a:custGeom>
              <a:avLst/>
              <a:gdLst>
                <a:gd name="T0" fmla="*/ 122 w 139"/>
                <a:gd name="T1" fmla="*/ 186 h 212"/>
                <a:gd name="T2" fmla="*/ 41 w 139"/>
                <a:gd name="T3" fmla="*/ 190 h 212"/>
                <a:gd name="T4" fmla="*/ 115 w 139"/>
                <a:gd name="T5" fmla="*/ 58 h 212"/>
                <a:gd name="T6" fmla="*/ 132 w 139"/>
                <a:gd name="T7" fmla="*/ 25 h 212"/>
                <a:gd name="T8" fmla="*/ 131 w 139"/>
                <a:gd name="T9" fmla="*/ 17 h 212"/>
                <a:gd name="T10" fmla="*/ 118 w 139"/>
                <a:gd name="T11" fmla="*/ 0 h 212"/>
                <a:gd name="T12" fmla="*/ 114 w 139"/>
                <a:gd name="T13" fmla="*/ 1 h 212"/>
                <a:gd name="T14" fmla="*/ 101 w 139"/>
                <a:gd name="T15" fmla="*/ 18 h 212"/>
                <a:gd name="T16" fmla="*/ 50 w 139"/>
                <a:gd name="T17" fmla="*/ 92 h 212"/>
                <a:gd name="T18" fmla="*/ 29 w 139"/>
                <a:gd name="T19" fmla="*/ 128 h 212"/>
                <a:gd name="T20" fmla="*/ 6 w 139"/>
                <a:gd name="T21" fmla="*/ 172 h 212"/>
                <a:gd name="T22" fmla="*/ 23 w 139"/>
                <a:gd name="T23" fmla="*/ 208 h 212"/>
                <a:gd name="T24" fmla="*/ 31 w 139"/>
                <a:gd name="T25" fmla="*/ 212 h 212"/>
                <a:gd name="T26" fmla="*/ 136 w 139"/>
                <a:gd name="T27" fmla="*/ 198 h 212"/>
                <a:gd name="T28" fmla="*/ 122 w 139"/>
                <a:gd name="T29" fmla="*/ 186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9" h="212">
                  <a:moveTo>
                    <a:pt x="122" y="186"/>
                  </a:moveTo>
                  <a:cubicBezTo>
                    <a:pt x="97" y="180"/>
                    <a:pt x="64" y="188"/>
                    <a:pt x="41" y="190"/>
                  </a:cubicBezTo>
                  <a:cubicBezTo>
                    <a:pt x="61" y="154"/>
                    <a:pt x="96" y="91"/>
                    <a:pt x="115" y="58"/>
                  </a:cubicBezTo>
                  <a:cubicBezTo>
                    <a:pt x="120" y="49"/>
                    <a:pt x="128" y="34"/>
                    <a:pt x="132" y="25"/>
                  </a:cubicBezTo>
                  <a:cubicBezTo>
                    <a:pt x="132" y="25"/>
                    <a:pt x="134" y="22"/>
                    <a:pt x="131" y="17"/>
                  </a:cubicBezTo>
                  <a:cubicBezTo>
                    <a:pt x="130" y="12"/>
                    <a:pt x="119" y="2"/>
                    <a:pt x="118" y="0"/>
                  </a:cubicBezTo>
                  <a:cubicBezTo>
                    <a:pt x="117" y="0"/>
                    <a:pt x="115" y="0"/>
                    <a:pt x="114" y="1"/>
                  </a:cubicBezTo>
                  <a:cubicBezTo>
                    <a:pt x="110" y="6"/>
                    <a:pt x="102" y="15"/>
                    <a:pt x="101" y="18"/>
                  </a:cubicBezTo>
                  <a:cubicBezTo>
                    <a:pt x="97" y="22"/>
                    <a:pt x="59" y="78"/>
                    <a:pt x="50" y="92"/>
                  </a:cubicBezTo>
                  <a:cubicBezTo>
                    <a:pt x="47" y="98"/>
                    <a:pt x="32" y="121"/>
                    <a:pt x="29" y="128"/>
                  </a:cubicBezTo>
                  <a:cubicBezTo>
                    <a:pt x="19" y="146"/>
                    <a:pt x="12" y="159"/>
                    <a:pt x="6" y="172"/>
                  </a:cubicBezTo>
                  <a:cubicBezTo>
                    <a:pt x="0" y="192"/>
                    <a:pt x="16" y="203"/>
                    <a:pt x="23" y="208"/>
                  </a:cubicBezTo>
                  <a:cubicBezTo>
                    <a:pt x="23" y="208"/>
                    <a:pt x="28" y="212"/>
                    <a:pt x="31" y="212"/>
                  </a:cubicBezTo>
                  <a:cubicBezTo>
                    <a:pt x="45" y="212"/>
                    <a:pt x="106" y="198"/>
                    <a:pt x="136" y="198"/>
                  </a:cubicBezTo>
                  <a:cubicBezTo>
                    <a:pt x="139" y="197"/>
                    <a:pt x="130" y="191"/>
                    <a:pt x="122" y="18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0" name="Freeform 21"/>
            <p:cNvSpPr>
              <a:spLocks noEditPoints="1"/>
            </p:cNvSpPr>
            <p:nvPr/>
          </p:nvSpPr>
          <p:spPr bwMode="auto">
            <a:xfrm>
              <a:off x="5222875" y="3449638"/>
              <a:ext cx="917575" cy="752475"/>
            </a:xfrm>
            <a:custGeom>
              <a:avLst/>
              <a:gdLst>
                <a:gd name="T0" fmla="*/ 242 w 245"/>
                <a:gd name="T1" fmla="*/ 68 h 201"/>
                <a:gd name="T2" fmla="*/ 243 w 245"/>
                <a:gd name="T3" fmla="*/ 64 h 201"/>
                <a:gd name="T4" fmla="*/ 209 w 245"/>
                <a:gd name="T5" fmla="*/ 58 h 201"/>
                <a:gd name="T6" fmla="*/ 223 w 245"/>
                <a:gd name="T7" fmla="*/ 35 h 201"/>
                <a:gd name="T8" fmla="*/ 224 w 245"/>
                <a:gd name="T9" fmla="*/ 21 h 201"/>
                <a:gd name="T10" fmla="*/ 207 w 245"/>
                <a:gd name="T11" fmla="*/ 1 h 201"/>
                <a:gd name="T12" fmla="*/ 203 w 245"/>
                <a:gd name="T13" fmla="*/ 2 h 201"/>
                <a:gd name="T14" fmla="*/ 202 w 245"/>
                <a:gd name="T15" fmla="*/ 8 h 201"/>
                <a:gd name="T16" fmla="*/ 172 w 245"/>
                <a:gd name="T17" fmla="*/ 58 h 201"/>
                <a:gd name="T18" fmla="*/ 142 w 245"/>
                <a:gd name="T19" fmla="*/ 58 h 201"/>
                <a:gd name="T20" fmla="*/ 139 w 245"/>
                <a:gd name="T21" fmla="*/ 61 h 201"/>
                <a:gd name="T22" fmla="*/ 145 w 245"/>
                <a:gd name="T23" fmla="*/ 68 h 201"/>
                <a:gd name="T24" fmla="*/ 166 w 245"/>
                <a:gd name="T25" fmla="*/ 68 h 201"/>
                <a:gd name="T26" fmla="*/ 134 w 245"/>
                <a:gd name="T27" fmla="*/ 124 h 201"/>
                <a:gd name="T28" fmla="*/ 126 w 245"/>
                <a:gd name="T29" fmla="*/ 137 h 201"/>
                <a:gd name="T30" fmla="*/ 52 w 245"/>
                <a:gd name="T31" fmla="*/ 166 h 201"/>
                <a:gd name="T32" fmla="*/ 48 w 245"/>
                <a:gd name="T33" fmla="*/ 134 h 201"/>
                <a:gd name="T34" fmla="*/ 91 w 245"/>
                <a:gd name="T35" fmla="*/ 132 h 201"/>
                <a:gd name="T36" fmla="*/ 116 w 245"/>
                <a:gd name="T37" fmla="*/ 65 h 201"/>
                <a:gd name="T38" fmla="*/ 40 w 245"/>
                <a:gd name="T39" fmla="*/ 89 h 201"/>
                <a:gd name="T40" fmla="*/ 28 w 245"/>
                <a:gd name="T41" fmla="*/ 187 h 201"/>
                <a:gd name="T42" fmla="*/ 122 w 245"/>
                <a:gd name="T43" fmla="*/ 154 h 201"/>
                <a:gd name="T44" fmla="*/ 121 w 245"/>
                <a:gd name="T45" fmla="*/ 161 h 201"/>
                <a:gd name="T46" fmla="*/ 129 w 245"/>
                <a:gd name="T47" fmla="*/ 183 h 201"/>
                <a:gd name="T48" fmla="*/ 198 w 245"/>
                <a:gd name="T49" fmla="*/ 150 h 201"/>
                <a:gd name="T50" fmla="*/ 189 w 245"/>
                <a:gd name="T51" fmla="*/ 150 h 201"/>
                <a:gd name="T52" fmla="*/ 158 w 245"/>
                <a:gd name="T53" fmla="*/ 168 h 201"/>
                <a:gd name="T54" fmla="*/ 202 w 245"/>
                <a:gd name="T55" fmla="*/ 68 h 201"/>
                <a:gd name="T56" fmla="*/ 242 w 245"/>
                <a:gd name="T57" fmla="*/ 68 h 201"/>
                <a:gd name="T58" fmla="*/ 106 w 245"/>
                <a:gd name="T59" fmla="*/ 72 h 201"/>
                <a:gd name="T60" fmla="*/ 89 w 245"/>
                <a:gd name="T61" fmla="*/ 111 h 201"/>
                <a:gd name="T62" fmla="*/ 50 w 245"/>
                <a:gd name="T63" fmla="*/ 125 h 201"/>
                <a:gd name="T64" fmla="*/ 106 w 245"/>
                <a:gd name="T65" fmla="*/ 72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5" h="201">
                  <a:moveTo>
                    <a:pt x="242" y="68"/>
                  </a:moveTo>
                  <a:cubicBezTo>
                    <a:pt x="243" y="68"/>
                    <a:pt x="245" y="66"/>
                    <a:pt x="243" y="64"/>
                  </a:cubicBezTo>
                  <a:cubicBezTo>
                    <a:pt x="239" y="59"/>
                    <a:pt x="225" y="58"/>
                    <a:pt x="209" y="58"/>
                  </a:cubicBezTo>
                  <a:cubicBezTo>
                    <a:pt x="212" y="52"/>
                    <a:pt x="221" y="39"/>
                    <a:pt x="223" y="35"/>
                  </a:cubicBezTo>
                  <a:cubicBezTo>
                    <a:pt x="226" y="28"/>
                    <a:pt x="226" y="24"/>
                    <a:pt x="224" y="21"/>
                  </a:cubicBezTo>
                  <a:cubicBezTo>
                    <a:pt x="220" y="16"/>
                    <a:pt x="208" y="3"/>
                    <a:pt x="207" y="1"/>
                  </a:cubicBezTo>
                  <a:cubicBezTo>
                    <a:pt x="205" y="0"/>
                    <a:pt x="203" y="0"/>
                    <a:pt x="203" y="2"/>
                  </a:cubicBezTo>
                  <a:cubicBezTo>
                    <a:pt x="203" y="5"/>
                    <a:pt x="203" y="6"/>
                    <a:pt x="202" y="8"/>
                  </a:cubicBezTo>
                  <a:cubicBezTo>
                    <a:pt x="200" y="13"/>
                    <a:pt x="172" y="58"/>
                    <a:pt x="172" y="58"/>
                  </a:cubicBezTo>
                  <a:cubicBezTo>
                    <a:pt x="142" y="58"/>
                    <a:pt x="142" y="58"/>
                    <a:pt x="142" y="58"/>
                  </a:cubicBezTo>
                  <a:cubicBezTo>
                    <a:pt x="142" y="58"/>
                    <a:pt x="138" y="58"/>
                    <a:pt x="139" y="61"/>
                  </a:cubicBezTo>
                  <a:cubicBezTo>
                    <a:pt x="140" y="64"/>
                    <a:pt x="145" y="68"/>
                    <a:pt x="145" y="68"/>
                  </a:cubicBezTo>
                  <a:cubicBezTo>
                    <a:pt x="154" y="68"/>
                    <a:pt x="166" y="68"/>
                    <a:pt x="166" y="68"/>
                  </a:cubicBezTo>
                  <a:cubicBezTo>
                    <a:pt x="166" y="68"/>
                    <a:pt x="145" y="106"/>
                    <a:pt x="134" y="124"/>
                  </a:cubicBezTo>
                  <a:cubicBezTo>
                    <a:pt x="132" y="128"/>
                    <a:pt x="130" y="133"/>
                    <a:pt x="126" y="137"/>
                  </a:cubicBezTo>
                  <a:cubicBezTo>
                    <a:pt x="117" y="147"/>
                    <a:pt x="82" y="182"/>
                    <a:pt x="52" y="166"/>
                  </a:cubicBezTo>
                  <a:cubicBezTo>
                    <a:pt x="43" y="161"/>
                    <a:pt x="44" y="145"/>
                    <a:pt x="48" y="134"/>
                  </a:cubicBezTo>
                  <a:cubicBezTo>
                    <a:pt x="48" y="134"/>
                    <a:pt x="68" y="145"/>
                    <a:pt x="91" y="132"/>
                  </a:cubicBezTo>
                  <a:cubicBezTo>
                    <a:pt x="124" y="113"/>
                    <a:pt x="142" y="78"/>
                    <a:pt x="116" y="65"/>
                  </a:cubicBezTo>
                  <a:cubicBezTo>
                    <a:pt x="91" y="53"/>
                    <a:pt x="64" y="65"/>
                    <a:pt x="40" y="89"/>
                  </a:cubicBezTo>
                  <a:cubicBezTo>
                    <a:pt x="5" y="126"/>
                    <a:pt x="0" y="175"/>
                    <a:pt x="28" y="187"/>
                  </a:cubicBezTo>
                  <a:cubicBezTo>
                    <a:pt x="59" y="201"/>
                    <a:pt x="99" y="179"/>
                    <a:pt x="122" y="154"/>
                  </a:cubicBezTo>
                  <a:cubicBezTo>
                    <a:pt x="121" y="156"/>
                    <a:pt x="121" y="159"/>
                    <a:pt x="121" y="161"/>
                  </a:cubicBezTo>
                  <a:cubicBezTo>
                    <a:pt x="121" y="168"/>
                    <a:pt x="122" y="179"/>
                    <a:pt x="129" y="183"/>
                  </a:cubicBezTo>
                  <a:cubicBezTo>
                    <a:pt x="152" y="199"/>
                    <a:pt x="185" y="168"/>
                    <a:pt x="198" y="150"/>
                  </a:cubicBezTo>
                  <a:cubicBezTo>
                    <a:pt x="200" y="148"/>
                    <a:pt x="191" y="148"/>
                    <a:pt x="189" y="150"/>
                  </a:cubicBezTo>
                  <a:cubicBezTo>
                    <a:pt x="180" y="156"/>
                    <a:pt x="164" y="173"/>
                    <a:pt x="158" y="168"/>
                  </a:cubicBezTo>
                  <a:cubicBezTo>
                    <a:pt x="151" y="161"/>
                    <a:pt x="181" y="102"/>
                    <a:pt x="202" y="68"/>
                  </a:cubicBezTo>
                  <a:cubicBezTo>
                    <a:pt x="216" y="67"/>
                    <a:pt x="233" y="68"/>
                    <a:pt x="242" y="68"/>
                  </a:cubicBezTo>
                  <a:moveTo>
                    <a:pt x="106" y="72"/>
                  </a:moveTo>
                  <a:cubicBezTo>
                    <a:pt x="113" y="74"/>
                    <a:pt x="98" y="102"/>
                    <a:pt x="89" y="111"/>
                  </a:cubicBezTo>
                  <a:cubicBezTo>
                    <a:pt x="71" y="129"/>
                    <a:pt x="50" y="125"/>
                    <a:pt x="50" y="125"/>
                  </a:cubicBezTo>
                  <a:cubicBezTo>
                    <a:pt x="58" y="99"/>
                    <a:pt x="96" y="70"/>
                    <a:pt x="106" y="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1" name="Freeform 22"/>
            <p:cNvSpPr>
              <a:spLocks noEditPoints="1"/>
            </p:cNvSpPr>
            <p:nvPr/>
          </p:nvSpPr>
          <p:spPr bwMode="auto">
            <a:xfrm>
              <a:off x="6613525" y="3644900"/>
              <a:ext cx="636587" cy="688975"/>
            </a:xfrm>
            <a:custGeom>
              <a:avLst/>
              <a:gdLst>
                <a:gd name="T0" fmla="*/ 142 w 170"/>
                <a:gd name="T1" fmla="*/ 22 h 184"/>
                <a:gd name="T2" fmla="*/ 130 w 170"/>
                <a:gd name="T3" fmla="*/ 4 h 184"/>
                <a:gd name="T4" fmla="*/ 44 w 170"/>
                <a:gd name="T5" fmla="*/ 42 h 184"/>
                <a:gd name="T6" fmla="*/ 28 w 170"/>
                <a:gd name="T7" fmla="*/ 120 h 184"/>
                <a:gd name="T8" fmla="*/ 100 w 170"/>
                <a:gd name="T9" fmla="*/ 88 h 184"/>
                <a:gd name="T10" fmla="*/ 78 w 170"/>
                <a:gd name="T11" fmla="*/ 133 h 184"/>
                <a:gd name="T12" fmla="*/ 40 w 170"/>
                <a:gd name="T13" fmla="*/ 166 h 184"/>
                <a:gd name="T14" fmla="*/ 12 w 170"/>
                <a:gd name="T15" fmla="*/ 142 h 184"/>
                <a:gd name="T16" fmla="*/ 0 w 170"/>
                <a:gd name="T17" fmla="*/ 153 h 184"/>
                <a:gd name="T18" fmla="*/ 45 w 170"/>
                <a:gd name="T19" fmla="*/ 180 h 184"/>
                <a:gd name="T20" fmla="*/ 134 w 170"/>
                <a:gd name="T21" fmla="*/ 84 h 184"/>
                <a:gd name="T22" fmla="*/ 167 w 170"/>
                <a:gd name="T23" fmla="*/ 23 h 184"/>
                <a:gd name="T24" fmla="*/ 144 w 170"/>
                <a:gd name="T25" fmla="*/ 19 h 184"/>
                <a:gd name="T26" fmla="*/ 142 w 170"/>
                <a:gd name="T27" fmla="*/ 22 h 184"/>
                <a:gd name="T28" fmla="*/ 123 w 170"/>
                <a:gd name="T29" fmla="*/ 40 h 184"/>
                <a:gd name="T30" fmla="*/ 58 w 170"/>
                <a:gd name="T31" fmla="*/ 92 h 184"/>
                <a:gd name="T32" fmla="*/ 78 w 170"/>
                <a:gd name="T33" fmla="*/ 40 h 184"/>
                <a:gd name="T34" fmla="*/ 123 w 170"/>
                <a:gd name="T35" fmla="*/ 4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84">
                  <a:moveTo>
                    <a:pt x="142" y="22"/>
                  </a:moveTo>
                  <a:cubicBezTo>
                    <a:pt x="142" y="22"/>
                    <a:pt x="141" y="9"/>
                    <a:pt x="130" y="4"/>
                  </a:cubicBezTo>
                  <a:cubicBezTo>
                    <a:pt x="119" y="0"/>
                    <a:pt x="76" y="3"/>
                    <a:pt x="44" y="42"/>
                  </a:cubicBezTo>
                  <a:cubicBezTo>
                    <a:pt x="18" y="75"/>
                    <a:pt x="13" y="104"/>
                    <a:pt x="28" y="120"/>
                  </a:cubicBezTo>
                  <a:cubicBezTo>
                    <a:pt x="39" y="131"/>
                    <a:pt x="69" y="128"/>
                    <a:pt x="100" y="88"/>
                  </a:cubicBezTo>
                  <a:cubicBezTo>
                    <a:pt x="99" y="90"/>
                    <a:pt x="81" y="127"/>
                    <a:pt x="78" y="133"/>
                  </a:cubicBezTo>
                  <a:cubicBezTo>
                    <a:pt x="67" y="152"/>
                    <a:pt x="49" y="165"/>
                    <a:pt x="40" y="166"/>
                  </a:cubicBezTo>
                  <a:cubicBezTo>
                    <a:pt x="17" y="170"/>
                    <a:pt x="13" y="151"/>
                    <a:pt x="12" y="142"/>
                  </a:cubicBezTo>
                  <a:cubicBezTo>
                    <a:pt x="12" y="141"/>
                    <a:pt x="0" y="142"/>
                    <a:pt x="0" y="153"/>
                  </a:cubicBezTo>
                  <a:cubicBezTo>
                    <a:pt x="0" y="168"/>
                    <a:pt x="17" y="184"/>
                    <a:pt x="45" y="180"/>
                  </a:cubicBezTo>
                  <a:cubicBezTo>
                    <a:pt x="94" y="173"/>
                    <a:pt x="112" y="134"/>
                    <a:pt x="134" y="84"/>
                  </a:cubicBezTo>
                  <a:cubicBezTo>
                    <a:pt x="137" y="77"/>
                    <a:pt x="153" y="42"/>
                    <a:pt x="167" y="23"/>
                  </a:cubicBezTo>
                  <a:cubicBezTo>
                    <a:pt x="170" y="20"/>
                    <a:pt x="148" y="15"/>
                    <a:pt x="144" y="19"/>
                  </a:cubicBezTo>
                  <a:lnTo>
                    <a:pt x="142" y="22"/>
                  </a:lnTo>
                  <a:close/>
                  <a:moveTo>
                    <a:pt x="123" y="40"/>
                  </a:moveTo>
                  <a:cubicBezTo>
                    <a:pt x="102" y="72"/>
                    <a:pt x="69" y="109"/>
                    <a:pt x="58" y="92"/>
                  </a:cubicBezTo>
                  <a:cubicBezTo>
                    <a:pt x="54" y="86"/>
                    <a:pt x="56" y="68"/>
                    <a:pt x="78" y="40"/>
                  </a:cubicBezTo>
                  <a:cubicBezTo>
                    <a:pt x="106" y="5"/>
                    <a:pt x="141" y="13"/>
                    <a:pt x="123" y="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2" name="Freeform 23"/>
            <p:cNvSpPr>
              <a:spLocks/>
            </p:cNvSpPr>
            <p:nvPr/>
          </p:nvSpPr>
          <p:spPr bwMode="auto">
            <a:xfrm>
              <a:off x="7723188" y="3400425"/>
              <a:ext cx="303212" cy="584200"/>
            </a:xfrm>
            <a:custGeom>
              <a:avLst/>
              <a:gdLst>
                <a:gd name="T0" fmla="*/ 79 w 81"/>
                <a:gd name="T1" fmla="*/ 18 h 156"/>
                <a:gd name="T2" fmla="*/ 51 w 81"/>
                <a:gd name="T3" fmla="*/ 0 h 156"/>
                <a:gd name="T4" fmla="*/ 6 w 81"/>
                <a:gd name="T5" fmla="*/ 116 h 156"/>
                <a:gd name="T6" fmla="*/ 9 w 81"/>
                <a:gd name="T7" fmla="*/ 152 h 156"/>
                <a:gd name="T8" fmla="*/ 18 w 81"/>
                <a:gd name="T9" fmla="*/ 145 h 156"/>
                <a:gd name="T10" fmla="*/ 75 w 81"/>
                <a:gd name="T11" fmla="*/ 39 h 156"/>
                <a:gd name="T12" fmla="*/ 79 w 81"/>
                <a:gd name="T13" fmla="*/ 1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56">
                  <a:moveTo>
                    <a:pt x="79" y="18"/>
                  </a:moveTo>
                  <a:cubicBezTo>
                    <a:pt x="74" y="11"/>
                    <a:pt x="57" y="2"/>
                    <a:pt x="51" y="0"/>
                  </a:cubicBezTo>
                  <a:cubicBezTo>
                    <a:pt x="39" y="31"/>
                    <a:pt x="20" y="71"/>
                    <a:pt x="6" y="116"/>
                  </a:cubicBezTo>
                  <a:cubicBezTo>
                    <a:pt x="3" y="129"/>
                    <a:pt x="0" y="145"/>
                    <a:pt x="9" y="152"/>
                  </a:cubicBezTo>
                  <a:cubicBezTo>
                    <a:pt x="14" y="156"/>
                    <a:pt x="16" y="150"/>
                    <a:pt x="18" y="145"/>
                  </a:cubicBezTo>
                  <a:cubicBezTo>
                    <a:pt x="37" y="104"/>
                    <a:pt x="73" y="43"/>
                    <a:pt x="75" y="39"/>
                  </a:cubicBezTo>
                  <a:cubicBezTo>
                    <a:pt x="81" y="29"/>
                    <a:pt x="81" y="21"/>
                    <a:pt x="79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3" name="Oval 24"/>
            <p:cNvSpPr>
              <a:spLocks noChangeArrowheads="1"/>
            </p:cNvSpPr>
            <p:nvPr/>
          </p:nvSpPr>
          <p:spPr bwMode="auto">
            <a:xfrm>
              <a:off x="7640638" y="4014788"/>
              <a:ext cx="134937" cy="1317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4" name="Freeform 25"/>
            <p:cNvSpPr>
              <a:spLocks/>
            </p:cNvSpPr>
            <p:nvPr/>
          </p:nvSpPr>
          <p:spPr bwMode="auto">
            <a:xfrm>
              <a:off x="6122988" y="3414713"/>
              <a:ext cx="160337" cy="188913"/>
            </a:xfrm>
            <a:custGeom>
              <a:avLst/>
              <a:gdLst>
                <a:gd name="T0" fmla="*/ 8 w 43"/>
                <a:gd name="T1" fmla="*/ 50 h 50"/>
                <a:gd name="T2" fmla="*/ 43 w 43"/>
                <a:gd name="T3" fmla="*/ 20 h 50"/>
                <a:gd name="T4" fmla="*/ 31 w 43"/>
                <a:gd name="T5" fmla="*/ 4 h 50"/>
                <a:gd name="T6" fmla="*/ 20 w 43"/>
                <a:gd name="T7" fmla="*/ 35 h 50"/>
                <a:gd name="T8" fmla="*/ 3 w 43"/>
                <a:gd name="T9" fmla="*/ 46 h 50"/>
                <a:gd name="T10" fmla="*/ 8 w 43"/>
                <a:gd name="T1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50">
                  <a:moveTo>
                    <a:pt x="8" y="50"/>
                  </a:moveTo>
                  <a:cubicBezTo>
                    <a:pt x="25" y="50"/>
                    <a:pt x="40" y="41"/>
                    <a:pt x="43" y="20"/>
                  </a:cubicBezTo>
                  <a:cubicBezTo>
                    <a:pt x="43" y="18"/>
                    <a:pt x="43" y="6"/>
                    <a:pt x="31" y="4"/>
                  </a:cubicBezTo>
                  <a:cubicBezTo>
                    <a:pt x="7" y="0"/>
                    <a:pt x="2" y="30"/>
                    <a:pt x="20" y="35"/>
                  </a:cubicBezTo>
                  <a:cubicBezTo>
                    <a:pt x="17" y="42"/>
                    <a:pt x="10" y="44"/>
                    <a:pt x="3" y="46"/>
                  </a:cubicBezTo>
                  <a:cubicBezTo>
                    <a:pt x="0" y="47"/>
                    <a:pt x="5" y="50"/>
                    <a:pt x="8" y="5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  <p:sp>
          <p:nvSpPr>
            <p:cNvPr id="25" name="Freeform 26"/>
            <p:cNvSpPr>
              <a:spLocks noEditPoints="1"/>
            </p:cNvSpPr>
            <p:nvPr/>
          </p:nvSpPr>
          <p:spPr bwMode="auto">
            <a:xfrm>
              <a:off x="7018338" y="3562350"/>
              <a:ext cx="787400" cy="647700"/>
            </a:xfrm>
            <a:custGeom>
              <a:avLst/>
              <a:gdLst>
                <a:gd name="T0" fmla="*/ 158 w 210"/>
                <a:gd name="T1" fmla="*/ 37 h 173"/>
                <a:gd name="T2" fmla="*/ 71 w 210"/>
                <a:gd name="T3" fmla="*/ 154 h 173"/>
                <a:gd name="T4" fmla="*/ 158 w 210"/>
                <a:gd name="T5" fmla="*/ 37 h 173"/>
                <a:gd name="T6" fmla="*/ 132 w 210"/>
                <a:gd name="T7" fmla="*/ 102 h 173"/>
                <a:gd name="T8" fmla="*/ 120 w 210"/>
                <a:gd name="T9" fmla="*/ 119 h 173"/>
                <a:gd name="T10" fmla="*/ 106 w 210"/>
                <a:gd name="T11" fmla="*/ 132 h 173"/>
                <a:gd name="T12" fmla="*/ 84 w 210"/>
                <a:gd name="T13" fmla="*/ 141 h 173"/>
                <a:gd name="T14" fmla="*/ 90 w 210"/>
                <a:gd name="T15" fmla="*/ 81 h 173"/>
                <a:gd name="T16" fmla="*/ 143 w 210"/>
                <a:gd name="T17" fmla="*/ 41 h 173"/>
                <a:gd name="T18" fmla="*/ 132 w 210"/>
                <a:gd name="T19" fmla="*/ 10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0" h="173">
                  <a:moveTo>
                    <a:pt x="158" y="37"/>
                  </a:moveTo>
                  <a:cubicBezTo>
                    <a:pt x="74" y="0"/>
                    <a:pt x="0" y="135"/>
                    <a:pt x="71" y="154"/>
                  </a:cubicBezTo>
                  <a:cubicBezTo>
                    <a:pt x="138" y="173"/>
                    <a:pt x="210" y="60"/>
                    <a:pt x="158" y="37"/>
                  </a:cubicBezTo>
                  <a:moveTo>
                    <a:pt x="132" y="102"/>
                  </a:moveTo>
                  <a:cubicBezTo>
                    <a:pt x="129" y="107"/>
                    <a:pt x="125" y="113"/>
                    <a:pt x="120" y="119"/>
                  </a:cubicBezTo>
                  <a:cubicBezTo>
                    <a:pt x="114" y="124"/>
                    <a:pt x="110" y="129"/>
                    <a:pt x="106" y="132"/>
                  </a:cubicBezTo>
                  <a:cubicBezTo>
                    <a:pt x="98" y="137"/>
                    <a:pt x="91" y="141"/>
                    <a:pt x="84" y="141"/>
                  </a:cubicBezTo>
                  <a:cubicBezTo>
                    <a:pt x="67" y="140"/>
                    <a:pt x="70" y="108"/>
                    <a:pt x="90" y="81"/>
                  </a:cubicBezTo>
                  <a:cubicBezTo>
                    <a:pt x="105" y="59"/>
                    <a:pt x="127" y="34"/>
                    <a:pt x="143" y="41"/>
                  </a:cubicBezTo>
                  <a:cubicBezTo>
                    <a:pt x="155" y="47"/>
                    <a:pt x="148" y="74"/>
                    <a:pt x="132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Text" lastClr="000000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26" name="LegendBoxes" hidden="1"/>
          <p:cNvGrpSpPr>
            <a:grpSpLocks/>
          </p:cNvGrpSpPr>
          <p:nvPr/>
        </p:nvGrpSpPr>
        <p:grpSpPr bwMode="auto">
          <a:xfrm>
            <a:off x="8702157" y="1181100"/>
            <a:ext cx="727473" cy="996950"/>
            <a:chOff x="4936" y="176"/>
            <a:chExt cx="423" cy="628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r>
                <a:rPr lang="en-US" sz="1200" dirty="0" smtClean="0">
                  <a:solidFill>
                    <a:srgbClr val="6C6F70"/>
                  </a:solidFill>
                  <a:ea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defRPr/>
              </a:pPr>
              <a:endParaRPr lang="de-DE" smtClean="0">
                <a:solidFill>
                  <a:srgbClr val="6C6F70"/>
                </a:solidFill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r>
                <a:rPr lang="en-US" sz="1200" dirty="0" smtClean="0">
                  <a:solidFill>
                    <a:srgbClr val="6C6F70"/>
                  </a:solidFill>
                  <a:ea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defRPr/>
              </a:pPr>
              <a:endParaRPr lang="de-DE" smtClean="0">
                <a:solidFill>
                  <a:srgbClr val="6C6F70"/>
                </a:solidFill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r>
                <a:rPr lang="en-US" sz="1200" dirty="0" smtClean="0">
                  <a:solidFill>
                    <a:srgbClr val="6C6F70"/>
                  </a:solidFill>
                  <a:ea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defRPr/>
              </a:pPr>
              <a:endParaRPr lang="de-DE" smtClean="0">
                <a:solidFill>
                  <a:srgbClr val="6C6F70"/>
                </a:solidFill>
                <a:ea typeface="Calibri" pitchFamily="34" charset="0"/>
                <a:cs typeface="Calibri" pitchFamily="34" charset="0"/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r>
                <a:rPr lang="en-US" sz="1200" dirty="0" smtClean="0">
                  <a:solidFill>
                    <a:srgbClr val="6C6F70"/>
                  </a:solidFill>
                  <a:ea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defRPr/>
              </a:pPr>
              <a:endParaRPr lang="de-DE" smtClean="0">
                <a:solidFill>
                  <a:srgbClr val="6C6F70"/>
                </a:solidFill>
                <a:ea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35" name="LegendLines" hidden="1"/>
          <p:cNvGrpSpPr>
            <a:grpSpLocks/>
          </p:cNvGrpSpPr>
          <p:nvPr/>
        </p:nvGrpSpPr>
        <p:grpSpPr bwMode="auto">
          <a:xfrm>
            <a:off x="8368513" y="1181100"/>
            <a:ext cx="1061114" cy="730250"/>
            <a:chOff x="4750" y="176"/>
            <a:chExt cx="617" cy="46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Calibri" pitchFamily="34" charset="0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Calibri" pitchFamily="34" charset="0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Calibri" pitchFamily="34" charset="0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r>
                <a:rPr lang="en-US" sz="1200" dirty="0" smtClean="0">
                  <a:solidFill>
                    <a:srgbClr val="6C6F70"/>
                  </a:solidFill>
                  <a:ea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r>
                <a:rPr lang="en-US" sz="1200" dirty="0" smtClean="0">
                  <a:solidFill>
                    <a:srgbClr val="6C6F70"/>
                  </a:solidFill>
                  <a:ea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6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r>
                <a:rPr lang="en-US" sz="1200" dirty="0" smtClean="0">
                  <a:solidFill>
                    <a:srgbClr val="6C6F70"/>
                  </a:solidFill>
                  <a:ea typeface="Calibri" pitchFamily="34" charset="0"/>
                  <a:cs typeface="Calibri" pitchFamily="34" charset="0"/>
                </a:rPr>
                <a:t>Legend</a:t>
              </a:r>
            </a:p>
          </p:txBody>
        </p:sp>
      </p:grpSp>
      <p:grpSp>
        <p:nvGrpSpPr>
          <p:cNvPr id="42" name="McKSticker" hidden="1"/>
          <p:cNvGrpSpPr>
            <a:grpSpLocks/>
          </p:cNvGrpSpPr>
          <p:nvPr/>
        </p:nvGrpSpPr>
        <p:grpSpPr bwMode="auto">
          <a:xfrm>
            <a:off x="8577109" y="1181100"/>
            <a:ext cx="886909" cy="212366"/>
            <a:chOff x="7921298" y="285750"/>
            <a:chExt cx="819477" cy="213241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921298" y="285750"/>
              <a:ext cx="819477" cy="21324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r">
                <a:buClr>
                  <a:srgbClr val="000000"/>
                </a:buClr>
                <a:defRPr/>
              </a:pPr>
              <a:r>
                <a:rPr lang="en-US" sz="1200" dirty="0" smtClean="0">
                  <a:solidFill>
                    <a:srgbClr val="808080"/>
                  </a:solidFill>
                  <a:ea typeface="Calibri" pitchFamily="34" charset="0"/>
                  <a:cs typeface="Calibri" pitchFamily="34" charset="0"/>
                </a:rPr>
                <a:t>PRELIMINARY</a:t>
              </a:r>
            </a:p>
          </p:txBody>
        </p:sp>
        <p:cxnSp>
          <p:nvCxnSpPr>
            <p:cNvPr id="44" name="AutoShape 31"/>
            <p:cNvCxnSpPr>
              <a:cxnSpLocks noChangeShapeType="1"/>
            </p:cNvCxnSpPr>
            <p:nvPr/>
          </p:nvCxnSpPr>
          <p:spPr bwMode="auto">
            <a:xfrm>
              <a:off x="792416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32"/>
            <p:cNvCxnSpPr>
              <a:cxnSpLocks noChangeShapeType="1"/>
            </p:cNvCxnSpPr>
            <p:nvPr/>
          </p:nvCxnSpPr>
          <p:spPr bwMode="auto">
            <a:xfrm>
              <a:off x="7924161" y="498116"/>
              <a:ext cx="81661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LegendMoons" hidden="1"/>
          <p:cNvGrpSpPr>
            <a:grpSpLocks/>
          </p:cNvGrpSpPr>
          <p:nvPr/>
        </p:nvGrpSpPr>
        <p:grpSpPr bwMode="auto">
          <a:xfrm>
            <a:off x="8631640" y="1181103"/>
            <a:ext cx="799370" cy="1306513"/>
            <a:chOff x="6655594" y="273840"/>
            <a:chExt cx="737587" cy="1306516"/>
          </a:xfrm>
        </p:grpSpPr>
        <p:grpSp>
          <p:nvGrpSpPr>
            <p:cNvPr id="47" name="MoonLegend1"/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  <p:grpSp>
          <p:nvGrpSpPr>
            <p:cNvPr id="48" name="MoonLegend2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  <p:grpSp>
          <p:nvGrpSpPr>
            <p:cNvPr id="49" name="MoonLegend4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  <p:grpSp>
          <p:nvGrpSpPr>
            <p:cNvPr id="50" name="MoonLegend5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6976142" y="286540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r>
                <a:rPr lang="en-US" sz="1200" dirty="0" smtClean="0">
                  <a:solidFill>
                    <a:srgbClr val="6C6F70"/>
                  </a:solidFill>
                  <a:ea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6976142" y="561179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r>
                <a:rPr lang="en-US" sz="1200" dirty="0" smtClean="0">
                  <a:solidFill>
                    <a:srgbClr val="6C6F70"/>
                  </a:solidFill>
                  <a:ea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6976142" y="835816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r>
                <a:rPr lang="en-US" sz="1200" dirty="0" smtClean="0">
                  <a:solidFill>
                    <a:srgbClr val="6C6F70"/>
                  </a:solidFill>
                  <a:ea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6976142" y="1107280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r>
                <a:rPr lang="en-US" sz="1200" dirty="0" smtClean="0">
                  <a:solidFill>
                    <a:srgbClr val="6C6F70"/>
                  </a:solidFill>
                  <a:ea typeface="Calibri" pitchFamily="34" charset="0"/>
                  <a:cs typeface="Calibri" pitchFamily="34" charset="0"/>
                </a:rPr>
                <a:t>Legend</a:t>
              </a: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6976142" y="1383506"/>
              <a:ext cx="41703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defTabSz="89535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r>
                <a:rPr lang="en-US" sz="1200" dirty="0" smtClean="0">
                  <a:solidFill>
                    <a:srgbClr val="6C6F70"/>
                  </a:solidFill>
                  <a:ea typeface="Calibri" pitchFamily="34" charset="0"/>
                  <a:cs typeface="Calibri" pitchFamily="34" charset="0"/>
                </a:rPr>
                <a:t>Legend</a:t>
              </a:r>
            </a:p>
          </p:txBody>
        </p:sp>
        <p:grpSp>
          <p:nvGrpSpPr>
            <p:cNvPr id="56" name="MoonLegend3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dirty="0">
                  <a:solidFill>
                    <a:srgbClr val="6C6F70"/>
                  </a:solidFill>
                  <a:latin typeface="+mn-lt"/>
                  <a:cs typeface="Calibri" pitchFamily="34" charset="0"/>
                </a:endParaRPr>
              </a:p>
            </p:txBody>
          </p:sp>
        </p:grpSp>
      </p:grpSp>
      <p:sp>
        <p:nvSpPr>
          <p:cNvPr id="67" name="Slide Number"/>
          <p:cNvSpPr txBox="1">
            <a:spLocks/>
          </p:cNvSpPr>
          <p:nvPr userDrawn="1"/>
        </p:nvSpPr>
        <p:spPr bwMode="auto">
          <a:xfrm>
            <a:off x="9614775" y="6581825"/>
            <a:ext cx="150782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25A88055-D327-44B4-BE29-86113C57E7F7}" type="slidenum">
              <a:rPr lang="en-US" smtClean="0">
                <a:solidFill>
                  <a:srgbClr val="6C6F70"/>
                </a:solidFill>
                <a:cs typeface="+mn-cs"/>
              </a:rPr>
              <a:pPr algn="ctr">
                <a:defRPr/>
              </a:pPr>
              <a:t>‹#›</a:t>
            </a:fld>
            <a:endParaRPr lang="en-US" dirty="0">
              <a:solidFill>
                <a:srgbClr val="6C6F70"/>
              </a:solidFill>
              <a:cs typeface="+mn-cs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84400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48538" y="1690025"/>
            <a:ext cx="9024111" cy="1428083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umsplatzhalt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0B3369-686C-49C6-BF9D-14A83E6DD087}" type="datetime1">
              <a:rPr lang="en-US"/>
              <a:pPr>
                <a:defRPr/>
              </a:pPr>
              <a:t>5/24/2017</a:t>
            </a:fld>
            <a:endParaRPr lang="en-US" dirty="0"/>
          </a:p>
        </p:txBody>
      </p:sp>
      <p:sp>
        <p:nvSpPr>
          <p:cNvPr id="5" name="Fußzeilenplatzhalter 3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liennummernplatzhalter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4B0697-7746-41BA-940E-058A86F81FF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85145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x2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448578" y="1681176"/>
            <a:ext cx="4411631" cy="276999"/>
          </a:xfrm>
          <a:prstGeom prst="rect">
            <a:avLst/>
          </a:prstGeom>
        </p:spPr>
        <p:txBody>
          <a:bodyPr anchor="b"/>
          <a:lstStyle>
            <a:lvl1pPr marL="0" indent="0">
              <a:buClr>
                <a:schemeClr val="bg2"/>
              </a:buClr>
              <a:buNone/>
              <a:defRPr sz="1800">
                <a:solidFill>
                  <a:schemeClr val="accent4"/>
                </a:solidFill>
              </a:defRPr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5045953" y="1681176"/>
            <a:ext cx="4411631" cy="276999"/>
          </a:xfrm>
          <a:prstGeom prst="rect">
            <a:avLst/>
          </a:prstGeom>
        </p:spPr>
        <p:txBody>
          <a:bodyPr anchor="b"/>
          <a:lstStyle>
            <a:lvl1pPr marL="0" indent="0">
              <a:buClr>
                <a:schemeClr val="bg2"/>
              </a:buClr>
              <a:buNone/>
              <a:defRPr sz="1800">
                <a:solidFill>
                  <a:schemeClr val="accent4"/>
                </a:solidFill>
              </a:defRPr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448578" y="2047880"/>
            <a:ext cx="4411631" cy="1428083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16"/>
          </p:nvPr>
        </p:nvSpPr>
        <p:spPr>
          <a:xfrm>
            <a:off x="5045953" y="2047880"/>
            <a:ext cx="4411631" cy="1428083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Datumsplatzhalter 2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DF9CB1-D3AE-415A-8B05-3A3C9A2CD93F}" type="datetime1">
              <a:rPr lang="en-US"/>
              <a:pPr>
                <a:defRPr/>
              </a:pPr>
              <a:t>5/24/2017</a:t>
            </a:fld>
            <a:endParaRPr lang="en-US" dirty="0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37A0A7-5A6E-41E5-A630-CB5FD970A3E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53424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3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623268" y="1402577"/>
            <a:ext cx="2535000" cy="553998"/>
          </a:xfrm>
          <a:prstGeom prst="rect">
            <a:avLst/>
          </a:prstGeom>
        </p:spPr>
        <p:txBody>
          <a:bodyPr anchor="b"/>
          <a:lstStyle>
            <a:lvl1pPr marL="0" indent="0">
              <a:buClr>
                <a:schemeClr val="bg2"/>
              </a:buClr>
              <a:buNone/>
              <a:defRPr sz="1800">
                <a:solidFill>
                  <a:schemeClr val="accent4"/>
                </a:solidFill>
              </a:defRPr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4290246" y="1402577"/>
            <a:ext cx="2535000" cy="553998"/>
          </a:xfrm>
          <a:prstGeom prst="rect">
            <a:avLst/>
          </a:prstGeom>
        </p:spPr>
        <p:txBody>
          <a:bodyPr anchor="b"/>
          <a:lstStyle>
            <a:lvl1pPr marL="0" indent="0">
              <a:buClr>
                <a:schemeClr val="bg2"/>
              </a:buClr>
              <a:buNone/>
              <a:defRPr sz="1800">
                <a:solidFill>
                  <a:schemeClr val="accent4"/>
                </a:solidFill>
              </a:defRPr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15"/>
          </p:nvPr>
        </p:nvSpPr>
        <p:spPr>
          <a:xfrm>
            <a:off x="1623268" y="2047889"/>
            <a:ext cx="2535000" cy="246221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16"/>
          </p:nvPr>
        </p:nvSpPr>
        <p:spPr>
          <a:xfrm>
            <a:off x="4290246" y="2047889"/>
            <a:ext cx="2535000" cy="246221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17"/>
          </p:nvPr>
        </p:nvSpPr>
        <p:spPr>
          <a:xfrm>
            <a:off x="6923854" y="1402577"/>
            <a:ext cx="2535000" cy="553998"/>
          </a:xfrm>
          <a:prstGeom prst="rect">
            <a:avLst/>
          </a:prstGeom>
        </p:spPr>
        <p:txBody>
          <a:bodyPr anchor="b"/>
          <a:lstStyle>
            <a:lvl1pPr marL="0" indent="0">
              <a:buClr>
                <a:schemeClr val="bg2"/>
              </a:buClr>
              <a:buNone/>
              <a:defRPr sz="1800">
                <a:solidFill>
                  <a:schemeClr val="accent4"/>
                </a:solidFill>
              </a:defRPr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18"/>
          </p:nvPr>
        </p:nvSpPr>
        <p:spPr>
          <a:xfrm>
            <a:off x="6923854" y="2047889"/>
            <a:ext cx="2535000" cy="246221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448500" y="2047879"/>
            <a:ext cx="1044279" cy="738664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b="1"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platzhalter 6"/>
          <p:cNvSpPr>
            <a:spLocks noGrp="1"/>
          </p:cNvSpPr>
          <p:nvPr>
            <p:ph type="body" sz="quarter" idx="20"/>
          </p:nvPr>
        </p:nvSpPr>
        <p:spPr>
          <a:xfrm>
            <a:off x="1623268" y="3241929"/>
            <a:ext cx="2535000" cy="246221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26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4290246" y="3241929"/>
            <a:ext cx="2535000" cy="246221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27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6923854" y="3241929"/>
            <a:ext cx="2535000" cy="246221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28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448500" y="3241691"/>
            <a:ext cx="1044279" cy="738664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b="1"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platzhalter 6"/>
          <p:cNvSpPr>
            <a:spLocks noGrp="1"/>
          </p:cNvSpPr>
          <p:nvPr>
            <p:ph type="body" sz="quarter" idx="24"/>
          </p:nvPr>
        </p:nvSpPr>
        <p:spPr>
          <a:xfrm>
            <a:off x="1623268" y="4626228"/>
            <a:ext cx="2535000" cy="246221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25"/>
          </p:nvPr>
        </p:nvSpPr>
        <p:spPr>
          <a:xfrm>
            <a:off x="4290246" y="4626228"/>
            <a:ext cx="2535000" cy="246221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31" name="Textplatzhalter 6"/>
          <p:cNvSpPr>
            <a:spLocks noGrp="1"/>
          </p:cNvSpPr>
          <p:nvPr>
            <p:ph type="body" sz="quarter" idx="26"/>
          </p:nvPr>
        </p:nvSpPr>
        <p:spPr>
          <a:xfrm>
            <a:off x="6923854" y="4626228"/>
            <a:ext cx="2535000" cy="246221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32" name="Textplatzhalter 6"/>
          <p:cNvSpPr>
            <a:spLocks noGrp="1"/>
          </p:cNvSpPr>
          <p:nvPr>
            <p:ph type="body" sz="quarter" idx="27"/>
          </p:nvPr>
        </p:nvSpPr>
        <p:spPr>
          <a:xfrm>
            <a:off x="448500" y="4626103"/>
            <a:ext cx="1044279" cy="738664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None/>
              <a:defRPr b="1"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Datumsplatzhalter 2"/>
          <p:cNvSpPr>
            <a:spLocks noGrp="1"/>
          </p:cNvSpPr>
          <p:nvPr>
            <p:ph type="dt" sz="half" idx="2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215EC6-0BF1-423E-A657-1ACF59CE93FC}" type="datetime1">
              <a:rPr lang="en-US"/>
              <a:pPr>
                <a:defRPr/>
              </a:pPr>
              <a:t>5/24/2017</a:t>
            </a:fld>
            <a:endParaRPr lang="en-US" dirty="0"/>
          </a:p>
        </p:txBody>
      </p:sp>
      <p:sp>
        <p:nvSpPr>
          <p:cNvPr id="33" name="Fußzeilenplatzhalter 3"/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4" name="Foliennummernplatzhalter 4"/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7B2611-7BD1-4CF4-8640-14C2640CE52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8925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image" Target="../media/image1.png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48868" y="619074"/>
            <a:ext cx="9008269" cy="366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smtClean="0"/>
              <a:t>Enter slide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565012" y="6462713"/>
            <a:ext cx="1181497" cy="15240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6C6F70">
                    <a:tint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B043287-18B8-404B-B552-82F6E3D4D906}" type="datetime1">
              <a:rPr lang="en-GB"/>
              <a:pPr>
                <a:defRPr/>
              </a:pPr>
              <a:t>24/05/2017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96383" y="6462713"/>
            <a:ext cx="4550569" cy="15240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6C6F70">
                    <a:tint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57136" y="6483350"/>
            <a:ext cx="457465" cy="1539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CCCCCC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A093DD7-6480-46BC-ACC1-DD97A2A7EBB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30" name="Line 8"/>
          <p:cNvSpPr>
            <a:spLocks noChangeShapeType="1"/>
          </p:cNvSpPr>
          <p:nvPr/>
        </p:nvSpPr>
        <p:spPr bwMode="auto">
          <a:xfrm>
            <a:off x="448866" y="1109663"/>
            <a:ext cx="9023746" cy="0"/>
          </a:xfrm>
          <a:prstGeom prst="line">
            <a:avLst/>
          </a:prstGeom>
          <a:noFill/>
          <a:ln w="19050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32" tIns="45716" rIns="91432" bIns="45716"/>
          <a:lstStyle/>
          <a:p>
            <a:endParaRPr lang="en-GB" dirty="0"/>
          </a:p>
        </p:txBody>
      </p:sp>
      <p:pic>
        <p:nvPicPr>
          <p:cNvPr id="1031" name="Picture 3" descr="F:\00_eldorado\Thomas Cook\07 TCLC 09.2013\00 brand design\logos\00 Group\ThomasCook_hori_office.png"/>
          <p:cNvPicPr>
            <a:picLocks noChangeAspect="1" noChangeArrowheads="1"/>
          </p:cNvPicPr>
          <p:nvPr userDrawn="1"/>
        </p:nvPicPr>
        <p:blipFill>
          <a:blip r:embed="rId6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8106" y="6403975"/>
            <a:ext cx="1754188" cy="223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48868" y="1684338"/>
            <a:ext cx="9008269" cy="142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First bullet level</a:t>
            </a:r>
          </a:p>
          <a:p>
            <a:pPr lvl="1"/>
            <a:r>
              <a:rPr lang="en-US" smtClean="0"/>
              <a:t>Second bullet level</a:t>
            </a:r>
          </a:p>
          <a:p>
            <a:pPr lvl="2"/>
            <a:r>
              <a:rPr lang="en-US" smtClean="0"/>
              <a:t>Third bullet level</a:t>
            </a:r>
          </a:p>
          <a:p>
            <a:pPr lvl="3"/>
            <a:r>
              <a:rPr lang="en-US" smtClean="0"/>
              <a:t>Fourth bullet level</a:t>
            </a:r>
          </a:p>
          <a:p>
            <a:pPr lvl="4"/>
            <a:r>
              <a:rPr lang="en-US" smtClean="0"/>
              <a:t>Fifth bullet level</a:t>
            </a:r>
          </a:p>
        </p:txBody>
      </p:sp>
      <p:grpSp>
        <p:nvGrpSpPr>
          <p:cNvPr id="11" name="Gruppieren 10"/>
          <p:cNvGrpSpPr>
            <a:grpSpLocks noChangeAspect="1"/>
          </p:cNvGrpSpPr>
          <p:nvPr userDrawn="1"/>
        </p:nvGrpSpPr>
        <p:grpSpPr>
          <a:xfrm>
            <a:off x="448501" y="6414830"/>
            <a:ext cx="975000" cy="256646"/>
            <a:chOff x="4741863" y="3397250"/>
            <a:chExt cx="3284537" cy="936625"/>
          </a:xfrm>
          <a:solidFill>
            <a:schemeClr val="tx1"/>
          </a:solidFill>
        </p:grpSpPr>
        <p:sp>
          <p:nvSpPr>
            <p:cNvPr id="12" name="Freeform 19"/>
            <p:cNvSpPr>
              <a:spLocks/>
            </p:cNvSpPr>
            <p:nvPr/>
          </p:nvSpPr>
          <p:spPr bwMode="auto">
            <a:xfrm>
              <a:off x="6073775" y="3670300"/>
              <a:ext cx="457200" cy="490538"/>
            </a:xfrm>
            <a:custGeom>
              <a:avLst/>
              <a:gdLst>
                <a:gd name="T0" fmla="*/ 92 w 122"/>
                <a:gd name="T1" fmla="*/ 0 h 131"/>
                <a:gd name="T2" fmla="*/ 35 w 122"/>
                <a:gd name="T3" fmla="*/ 28 h 131"/>
                <a:gd name="T4" fmla="*/ 25 w 122"/>
                <a:gd name="T5" fmla="*/ 43 h 131"/>
                <a:gd name="T6" fmla="*/ 45 w 122"/>
                <a:gd name="T7" fmla="*/ 86 h 131"/>
                <a:gd name="T8" fmla="*/ 60 w 122"/>
                <a:gd name="T9" fmla="*/ 99 h 131"/>
                <a:gd name="T10" fmla="*/ 60 w 122"/>
                <a:gd name="T11" fmla="*/ 109 h 131"/>
                <a:gd name="T12" fmla="*/ 17 w 122"/>
                <a:gd name="T13" fmla="*/ 111 h 131"/>
                <a:gd name="T14" fmla="*/ 2 w 122"/>
                <a:gd name="T15" fmla="*/ 101 h 131"/>
                <a:gd name="T16" fmla="*/ 1 w 122"/>
                <a:gd name="T17" fmla="*/ 103 h 131"/>
                <a:gd name="T18" fmla="*/ 2 w 122"/>
                <a:gd name="T19" fmla="*/ 109 h 131"/>
                <a:gd name="T20" fmla="*/ 12 w 122"/>
                <a:gd name="T21" fmla="*/ 119 h 131"/>
                <a:gd name="T22" fmla="*/ 64 w 122"/>
                <a:gd name="T23" fmla="*/ 129 h 131"/>
                <a:gd name="T24" fmla="*/ 80 w 122"/>
                <a:gd name="T25" fmla="*/ 84 h 131"/>
                <a:gd name="T26" fmla="*/ 62 w 122"/>
                <a:gd name="T27" fmla="*/ 46 h 131"/>
                <a:gd name="T28" fmla="*/ 72 w 122"/>
                <a:gd name="T29" fmla="*/ 31 h 131"/>
                <a:gd name="T30" fmla="*/ 110 w 122"/>
                <a:gd name="T31" fmla="*/ 26 h 131"/>
                <a:gd name="T32" fmla="*/ 112 w 122"/>
                <a:gd name="T33" fmla="*/ 34 h 131"/>
                <a:gd name="T34" fmla="*/ 121 w 122"/>
                <a:gd name="T35" fmla="*/ 36 h 131"/>
                <a:gd name="T36" fmla="*/ 121 w 122"/>
                <a:gd name="T37" fmla="*/ 21 h 131"/>
                <a:gd name="T38" fmla="*/ 92 w 122"/>
                <a:gd name="T39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2" h="131">
                  <a:moveTo>
                    <a:pt x="92" y="0"/>
                  </a:moveTo>
                  <a:cubicBezTo>
                    <a:pt x="71" y="0"/>
                    <a:pt x="49" y="12"/>
                    <a:pt x="35" y="28"/>
                  </a:cubicBezTo>
                  <a:cubicBezTo>
                    <a:pt x="31" y="32"/>
                    <a:pt x="27" y="38"/>
                    <a:pt x="25" y="43"/>
                  </a:cubicBezTo>
                  <a:cubicBezTo>
                    <a:pt x="17" y="61"/>
                    <a:pt x="31" y="78"/>
                    <a:pt x="45" y="86"/>
                  </a:cubicBezTo>
                  <a:cubicBezTo>
                    <a:pt x="51" y="89"/>
                    <a:pt x="57" y="93"/>
                    <a:pt x="60" y="99"/>
                  </a:cubicBezTo>
                  <a:cubicBezTo>
                    <a:pt x="61" y="102"/>
                    <a:pt x="61" y="106"/>
                    <a:pt x="60" y="109"/>
                  </a:cubicBezTo>
                  <a:cubicBezTo>
                    <a:pt x="52" y="119"/>
                    <a:pt x="24" y="114"/>
                    <a:pt x="17" y="111"/>
                  </a:cubicBezTo>
                  <a:cubicBezTo>
                    <a:pt x="11" y="108"/>
                    <a:pt x="7" y="104"/>
                    <a:pt x="2" y="101"/>
                  </a:cubicBezTo>
                  <a:cubicBezTo>
                    <a:pt x="2" y="101"/>
                    <a:pt x="1" y="101"/>
                    <a:pt x="1" y="103"/>
                  </a:cubicBezTo>
                  <a:cubicBezTo>
                    <a:pt x="0" y="105"/>
                    <a:pt x="0" y="107"/>
                    <a:pt x="2" y="109"/>
                  </a:cubicBezTo>
                  <a:cubicBezTo>
                    <a:pt x="4" y="113"/>
                    <a:pt x="8" y="116"/>
                    <a:pt x="12" y="119"/>
                  </a:cubicBezTo>
                  <a:cubicBezTo>
                    <a:pt x="27" y="128"/>
                    <a:pt x="46" y="131"/>
                    <a:pt x="64" y="129"/>
                  </a:cubicBezTo>
                  <a:cubicBezTo>
                    <a:pt x="93" y="125"/>
                    <a:pt x="97" y="100"/>
                    <a:pt x="80" y="84"/>
                  </a:cubicBezTo>
                  <a:cubicBezTo>
                    <a:pt x="67" y="73"/>
                    <a:pt x="55" y="65"/>
                    <a:pt x="62" y="46"/>
                  </a:cubicBezTo>
                  <a:cubicBezTo>
                    <a:pt x="64" y="40"/>
                    <a:pt x="68" y="35"/>
                    <a:pt x="72" y="31"/>
                  </a:cubicBezTo>
                  <a:cubicBezTo>
                    <a:pt x="80" y="23"/>
                    <a:pt x="107" y="7"/>
                    <a:pt x="110" y="26"/>
                  </a:cubicBezTo>
                  <a:cubicBezTo>
                    <a:pt x="110" y="30"/>
                    <a:pt x="110" y="31"/>
                    <a:pt x="112" y="34"/>
                  </a:cubicBezTo>
                  <a:cubicBezTo>
                    <a:pt x="113" y="36"/>
                    <a:pt x="118" y="39"/>
                    <a:pt x="121" y="36"/>
                  </a:cubicBezTo>
                  <a:cubicBezTo>
                    <a:pt x="121" y="36"/>
                    <a:pt x="122" y="25"/>
                    <a:pt x="121" y="21"/>
                  </a:cubicBezTo>
                  <a:cubicBezTo>
                    <a:pt x="118" y="10"/>
                    <a:pt x="97" y="0"/>
                    <a:pt x="9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+mn-cs"/>
              </a:endParaRPr>
            </a:p>
          </p:txBody>
        </p:sp>
        <p:sp>
          <p:nvSpPr>
            <p:cNvPr id="13" name="Freeform 20"/>
            <p:cNvSpPr>
              <a:spLocks/>
            </p:cNvSpPr>
            <p:nvPr/>
          </p:nvSpPr>
          <p:spPr bwMode="auto">
            <a:xfrm>
              <a:off x="4741863" y="3397250"/>
              <a:ext cx="522287" cy="793750"/>
            </a:xfrm>
            <a:custGeom>
              <a:avLst/>
              <a:gdLst>
                <a:gd name="T0" fmla="*/ 122 w 139"/>
                <a:gd name="T1" fmla="*/ 186 h 212"/>
                <a:gd name="T2" fmla="*/ 41 w 139"/>
                <a:gd name="T3" fmla="*/ 190 h 212"/>
                <a:gd name="T4" fmla="*/ 115 w 139"/>
                <a:gd name="T5" fmla="*/ 58 h 212"/>
                <a:gd name="T6" fmla="*/ 132 w 139"/>
                <a:gd name="T7" fmla="*/ 25 h 212"/>
                <a:gd name="T8" fmla="*/ 131 w 139"/>
                <a:gd name="T9" fmla="*/ 17 h 212"/>
                <a:gd name="T10" fmla="*/ 118 w 139"/>
                <a:gd name="T11" fmla="*/ 0 h 212"/>
                <a:gd name="T12" fmla="*/ 114 w 139"/>
                <a:gd name="T13" fmla="*/ 1 h 212"/>
                <a:gd name="T14" fmla="*/ 101 w 139"/>
                <a:gd name="T15" fmla="*/ 18 h 212"/>
                <a:gd name="T16" fmla="*/ 50 w 139"/>
                <a:gd name="T17" fmla="*/ 92 h 212"/>
                <a:gd name="T18" fmla="*/ 29 w 139"/>
                <a:gd name="T19" fmla="*/ 128 h 212"/>
                <a:gd name="T20" fmla="*/ 6 w 139"/>
                <a:gd name="T21" fmla="*/ 172 h 212"/>
                <a:gd name="T22" fmla="*/ 23 w 139"/>
                <a:gd name="T23" fmla="*/ 208 h 212"/>
                <a:gd name="T24" fmla="*/ 31 w 139"/>
                <a:gd name="T25" fmla="*/ 212 h 212"/>
                <a:gd name="T26" fmla="*/ 136 w 139"/>
                <a:gd name="T27" fmla="*/ 198 h 212"/>
                <a:gd name="T28" fmla="*/ 122 w 139"/>
                <a:gd name="T29" fmla="*/ 186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9" h="212">
                  <a:moveTo>
                    <a:pt x="122" y="186"/>
                  </a:moveTo>
                  <a:cubicBezTo>
                    <a:pt x="97" y="180"/>
                    <a:pt x="64" y="188"/>
                    <a:pt x="41" y="190"/>
                  </a:cubicBezTo>
                  <a:cubicBezTo>
                    <a:pt x="61" y="154"/>
                    <a:pt x="96" y="91"/>
                    <a:pt x="115" y="58"/>
                  </a:cubicBezTo>
                  <a:cubicBezTo>
                    <a:pt x="120" y="49"/>
                    <a:pt x="128" y="34"/>
                    <a:pt x="132" y="25"/>
                  </a:cubicBezTo>
                  <a:cubicBezTo>
                    <a:pt x="132" y="25"/>
                    <a:pt x="134" y="22"/>
                    <a:pt x="131" y="17"/>
                  </a:cubicBezTo>
                  <a:cubicBezTo>
                    <a:pt x="130" y="12"/>
                    <a:pt x="119" y="2"/>
                    <a:pt x="118" y="0"/>
                  </a:cubicBezTo>
                  <a:cubicBezTo>
                    <a:pt x="117" y="0"/>
                    <a:pt x="115" y="0"/>
                    <a:pt x="114" y="1"/>
                  </a:cubicBezTo>
                  <a:cubicBezTo>
                    <a:pt x="110" y="6"/>
                    <a:pt x="102" y="15"/>
                    <a:pt x="101" y="18"/>
                  </a:cubicBezTo>
                  <a:cubicBezTo>
                    <a:pt x="97" y="22"/>
                    <a:pt x="59" y="78"/>
                    <a:pt x="50" y="92"/>
                  </a:cubicBezTo>
                  <a:cubicBezTo>
                    <a:pt x="47" y="98"/>
                    <a:pt x="32" y="121"/>
                    <a:pt x="29" y="128"/>
                  </a:cubicBezTo>
                  <a:cubicBezTo>
                    <a:pt x="19" y="146"/>
                    <a:pt x="12" y="159"/>
                    <a:pt x="6" y="172"/>
                  </a:cubicBezTo>
                  <a:cubicBezTo>
                    <a:pt x="0" y="192"/>
                    <a:pt x="16" y="203"/>
                    <a:pt x="23" y="208"/>
                  </a:cubicBezTo>
                  <a:cubicBezTo>
                    <a:pt x="23" y="208"/>
                    <a:pt x="28" y="212"/>
                    <a:pt x="31" y="212"/>
                  </a:cubicBezTo>
                  <a:cubicBezTo>
                    <a:pt x="45" y="212"/>
                    <a:pt x="106" y="198"/>
                    <a:pt x="136" y="198"/>
                  </a:cubicBezTo>
                  <a:cubicBezTo>
                    <a:pt x="139" y="197"/>
                    <a:pt x="130" y="191"/>
                    <a:pt x="122" y="18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+mn-cs"/>
              </a:endParaRPr>
            </a:p>
          </p:txBody>
        </p:sp>
        <p:sp>
          <p:nvSpPr>
            <p:cNvPr id="14" name="Freeform 21"/>
            <p:cNvSpPr>
              <a:spLocks noEditPoints="1"/>
            </p:cNvSpPr>
            <p:nvPr/>
          </p:nvSpPr>
          <p:spPr bwMode="auto">
            <a:xfrm>
              <a:off x="5222875" y="3449638"/>
              <a:ext cx="917575" cy="752475"/>
            </a:xfrm>
            <a:custGeom>
              <a:avLst/>
              <a:gdLst>
                <a:gd name="T0" fmla="*/ 242 w 245"/>
                <a:gd name="T1" fmla="*/ 68 h 201"/>
                <a:gd name="T2" fmla="*/ 243 w 245"/>
                <a:gd name="T3" fmla="*/ 64 h 201"/>
                <a:gd name="T4" fmla="*/ 209 w 245"/>
                <a:gd name="T5" fmla="*/ 58 h 201"/>
                <a:gd name="T6" fmla="*/ 223 w 245"/>
                <a:gd name="T7" fmla="*/ 35 h 201"/>
                <a:gd name="T8" fmla="*/ 224 w 245"/>
                <a:gd name="T9" fmla="*/ 21 h 201"/>
                <a:gd name="T10" fmla="*/ 207 w 245"/>
                <a:gd name="T11" fmla="*/ 1 h 201"/>
                <a:gd name="T12" fmla="*/ 203 w 245"/>
                <a:gd name="T13" fmla="*/ 2 h 201"/>
                <a:gd name="T14" fmla="*/ 202 w 245"/>
                <a:gd name="T15" fmla="*/ 8 h 201"/>
                <a:gd name="T16" fmla="*/ 172 w 245"/>
                <a:gd name="T17" fmla="*/ 58 h 201"/>
                <a:gd name="T18" fmla="*/ 142 w 245"/>
                <a:gd name="T19" fmla="*/ 58 h 201"/>
                <a:gd name="T20" fmla="*/ 139 w 245"/>
                <a:gd name="T21" fmla="*/ 61 h 201"/>
                <a:gd name="T22" fmla="*/ 145 w 245"/>
                <a:gd name="T23" fmla="*/ 68 h 201"/>
                <a:gd name="T24" fmla="*/ 166 w 245"/>
                <a:gd name="T25" fmla="*/ 68 h 201"/>
                <a:gd name="T26" fmla="*/ 134 w 245"/>
                <a:gd name="T27" fmla="*/ 124 h 201"/>
                <a:gd name="T28" fmla="*/ 126 w 245"/>
                <a:gd name="T29" fmla="*/ 137 h 201"/>
                <a:gd name="T30" fmla="*/ 52 w 245"/>
                <a:gd name="T31" fmla="*/ 166 h 201"/>
                <a:gd name="T32" fmla="*/ 48 w 245"/>
                <a:gd name="T33" fmla="*/ 134 h 201"/>
                <a:gd name="T34" fmla="*/ 91 w 245"/>
                <a:gd name="T35" fmla="*/ 132 h 201"/>
                <a:gd name="T36" fmla="*/ 116 w 245"/>
                <a:gd name="T37" fmla="*/ 65 h 201"/>
                <a:gd name="T38" fmla="*/ 40 w 245"/>
                <a:gd name="T39" fmla="*/ 89 h 201"/>
                <a:gd name="T40" fmla="*/ 28 w 245"/>
                <a:gd name="T41" fmla="*/ 187 h 201"/>
                <a:gd name="T42" fmla="*/ 122 w 245"/>
                <a:gd name="T43" fmla="*/ 154 h 201"/>
                <a:gd name="T44" fmla="*/ 121 w 245"/>
                <a:gd name="T45" fmla="*/ 161 h 201"/>
                <a:gd name="T46" fmla="*/ 129 w 245"/>
                <a:gd name="T47" fmla="*/ 183 h 201"/>
                <a:gd name="T48" fmla="*/ 198 w 245"/>
                <a:gd name="T49" fmla="*/ 150 h 201"/>
                <a:gd name="T50" fmla="*/ 189 w 245"/>
                <a:gd name="T51" fmla="*/ 150 h 201"/>
                <a:gd name="T52" fmla="*/ 158 w 245"/>
                <a:gd name="T53" fmla="*/ 168 h 201"/>
                <a:gd name="T54" fmla="*/ 202 w 245"/>
                <a:gd name="T55" fmla="*/ 68 h 201"/>
                <a:gd name="T56" fmla="*/ 242 w 245"/>
                <a:gd name="T57" fmla="*/ 68 h 201"/>
                <a:gd name="T58" fmla="*/ 106 w 245"/>
                <a:gd name="T59" fmla="*/ 72 h 201"/>
                <a:gd name="T60" fmla="*/ 89 w 245"/>
                <a:gd name="T61" fmla="*/ 111 h 201"/>
                <a:gd name="T62" fmla="*/ 50 w 245"/>
                <a:gd name="T63" fmla="*/ 125 h 201"/>
                <a:gd name="T64" fmla="*/ 106 w 245"/>
                <a:gd name="T65" fmla="*/ 72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5" h="201">
                  <a:moveTo>
                    <a:pt x="242" y="68"/>
                  </a:moveTo>
                  <a:cubicBezTo>
                    <a:pt x="243" y="68"/>
                    <a:pt x="245" y="66"/>
                    <a:pt x="243" y="64"/>
                  </a:cubicBezTo>
                  <a:cubicBezTo>
                    <a:pt x="239" y="59"/>
                    <a:pt x="225" y="58"/>
                    <a:pt x="209" y="58"/>
                  </a:cubicBezTo>
                  <a:cubicBezTo>
                    <a:pt x="212" y="52"/>
                    <a:pt x="221" y="39"/>
                    <a:pt x="223" y="35"/>
                  </a:cubicBezTo>
                  <a:cubicBezTo>
                    <a:pt x="226" y="28"/>
                    <a:pt x="226" y="24"/>
                    <a:pt x="224" y="21"/>
                  </a:cubicBezTo>
                  <a:cubicBezTo>
                    <a:pt x="220" y="16"/>
                    <a:pt x="208" y="3"/>
                    <a:pt x="207" y="1"/>
                  </a:cubicBezTo>
                  <a:cubicBezTo>
                    <a:pt x="205" y="0"/>
                    <a:pt x="203" y="0"/>
                    <a:pt x="203" y="2"/>
                  </a:cubicBezTo>
                  <a:cubicBezTo>
                    <a:pt x="203" y="5"/>
                    <a:pt x="203" y="6"/>
                    <a:pt x="202" y="8"/>
                  </a:cubicBezTo>
                  <a:cubicBezTo>
                    <a:pt x="200" y="13"/>
                    <a:pt x="172" y="58"/>
                    <a:pt x="172" y="58"/>
                  </a:cubicBezTo>
                  <a:cubicBezTo>
                    <a:pt x="142" y="58"/>
                    <a:pt x="142" y="58"/>
                    <a:pt x="142" y="58"/>
                  </a:cubicBezTo>
                  <a:cubicBezTo>
                    <a:pt x="142" y="58"/>
                    <a:pt x="138" y="58"/>
                    <a:pt x="139" y="61"/>
                  </a:cubicBezTo>
                  <a:cubicBezTo>
                    <a:pt x="140" y="64"/>
                    <a:pt x="145" y="68"/>
                    <a:pt x="145" y="68"/>
                  </a:cubicBezTo>
                  <a:cubicBezTo>
                    <a:pt x="154" y="68"/>
                    <a:pt x="166" y="68"/>
                    <a:pt x="166" y="68"/>
                  </a:cubicBezTo>
                  <a:cubicBezTo>
                    <a:pt x="166" y="68"/>
                    <a:pt x="145" y="106"/>
                    <a:pt x="134" y="124"/>
                  </a:cubicBezTo>
                  <a:cubicBezTo>
                    <a:pt x="132" y="128"/>
                    <a:pt x="130" y="133"/>
                    <a:pt x="126" y="137"/>
                  </a:cubicBezTo>
                  <a:cubicBezTo>
                    <a:pt x="117" y="147"/>
                    <a:pt x="82" y="182"/>
                    <a:pt x="52" y="166"/>
                  </a:cubicBezTo>
                  <a:cubicBezTo>
                    <a:pt x="43" y="161"/>
                    <a:pt x="44" y="145"/>
                    <a:pt x="48" y="134"/>
                  </a:cubicBezTo>
                  <a:cubicBezTo>
                    <a:pt x="48" y="134"/>
                    <a:pt x="68" y="145"/>
                    <a:pt x="91" y="132"/>
                  </a:cubicBezTo>
                  <a:cubicBezTo>
                    <a:pt x="124" y="113"/>
                    <a:pt x="142" y="78"/>
                    <a:pt x="116" y="65"/>
                  </a:cubicBezTo>
                  <a:cubicBezTo>
                    <a:pt x="91" y="53"/>
                    <a:pt x="64" y="65"/>
                    <a:pt x="40" y="89"/>
                  </a:cubicBezTo>
                  <a:cubicBezTo>
                    <a:pt x="5" y="126"/>
                    <a:pt x="0" y="175"/>
                    <a:pt x="28" y="187"/>
                  </a:cubicBezTo>
                  <a:cubicBezTo>
                    <a:pt x="59" y="201"/>
                    <a:pt x="99" y="179"/>
                    <a:pt x="122" y="154"/>
                  </a:cubicBezTo>
                  <a:cubicBezTo>
                    <a:pt x="121" y="156"/>
                    <a:pt x="121" y="159"/>
                    <a:pt x="121" y="161"/>
                  </a:cubicBezTo>
                  <a:cubicBezTo>
                    <a:pt x="121" y="168"/>
                    <a:pt x="122" y="179"/>
                    <a:pt x="129" y="183"/>
                  </a:cubicBezTo>
                  <a:cubicBezTo>
                    <a:pt x="152" y="199"/>
                    <a:pt x="185" y="168"/>
                    <a:pt x="198" y="150"/>
                  </a:cubicBezTo>
                  <a:cubicBezTo>
                    <a:pt x="200" y="148"/>
                    <a:pt x="191" y="148"/>
                    <a:pt x="189" y="150"/>
                  </a:cubicBezTo>
                  <a:cubicBezTo>
                    <a:pt x="180" y="156"/>
                    <a:pt x="164" y="173"/>
                    <a:pt x="158" y="168"/>
                  </a:cubicBezTo>
                  <a:cubicBezTo>
                    <a:pt x="151" y="161"/>
                    <a:pt x="181" y="102"/>
                    <a:pt x="202" y="68"/>
                  </a:cubicBezTo>
                  <a:cubicBezTo>
                    <a:pt x="216" y="67"/>
                    <a:pt x="233" y="68"/>
                    <a:pt x="242" y="68"/>
                  </a:cubicBezTo>
                  <a:moveTo>
                    <a:pt x="106" y="72"/>
                  </a:moveTo>
                  <a:cubicBezTo>
                    <a:pt x="113" y="74"/>
                    <a:pt x="98" y="102"/>
                    <a:pt x="89" y="111"/>
                  </a:cubicBezTo>
                  <a:cubicBezTo>
                    <a:pt x="71" y="129"/>
                    <a:pt x="50" y="125"/>
                    <a:pt x="50" y="125"/>
                  </a:cubicBezTo>
                  <a:cubicBezTo>
                    <a:pt x="58" y="99"/>
                    <a:pt x="96" y="70"/>
                    <a:pt x="106" y="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+mn-cs"/>
              </a:endParaRPr>
            </a:p>
          </p:txBody>
        </p:sp>
        <p:sp>
          <p:nvSpPr>
            <p:cNvPr id="15" name="Freeform 22"/>
            <p:cNvSpPr>
              <a:spLocks noEditPoints="1"/>
            </p:cNvSpPr>
            <p:nvPr/>
          </p:nvSpPr>
          <p:spPr bwMode="auto">
            <a:xfrm>
              <a:off x="6613525" y="3644900"/>
              <a:ext cx="636587" cy="688975"/>
            </a:xfrm>
            <a:custGeom>
              <a:avLst/>
              <a:gdLst>
                <a:gd name="T0" fmla="*/ 142 w 170"/>
                <a:gd name="T1" fmla="*/ 22 h 184"/>
                <a:gd name="T2" fmla="*/ 130 w 170"/>
                <a:gd name="T3" fmla="*/ 4 h 184"/>
                <a:gd name="T4" fmla="*/ 44 w 170"/>
                <a:gd name="T5" fmla="*/ 42 h 184"/>
                <a:gd name="T6" fmla="*/ 28 w 170"/>
                <a:gd name="T7" fmla="*/ 120 h 184"/>
                <a:gd name="T8" fmla="*/ 100 w 170"/>
                <a:gd name="T9" fmla="*/ 88 h 184"/>
                <a:gd name="T10" fmla="*/ 78 w 170"/>
                <a:gd name="T11" fmla="*/ 133 h 184"/>
                <a:gd name="T12" fmla="*/ 40 w 170"/>
                <a:gd name="T13" fmla="*/ 166 h 184"/>
                <a:gd name="T14" fmla="*/ 12 w 170"/>
                <a:gd name="T15" fmla="*/ 142 h 184"/>
                <a:gd name="T16" fmla="*/ 0 w 170"/>
                <a:gd name="T17" fmla="*/ 153 h 184"/>
                <a:gd name="T18" fmla="*/ 45 w 170"/>
                <a:gd name="T19" fmla="*/ 180 h 184"/>
                <a:gd name="T20" fmla="*/ 134 w 170"/>
                <a:gd name="T21" fmla="*/ 84 h 184"/>
                <a:gd name="T22" fmla="*/ 167 w 170"/>
                <a:gd name="T23" fmla="*/ 23 h 184"/>
                <a:gd name="T24" fmla="*/ 144 w 170"/>
                <a:gd name="T25" fmla="*/ 19 h 184"/>
                <a:gd name="T26" fmla="*/ 142 w 170"/>
                <a:gd name="T27" fmla="*/ 22 h 184"/>
                <a:gd name="T28" fmla="*/ 123 w 170"/>
                <a:gd name="T29" fmla="*/ 40 h 184"/>
                <a:gd name="T30" fmla="*/ 58 w 170"/>
                <a:gd name="T31" fmla="*/ 92 h 184"/>
                <a:gd name="T32" fmla="*/ 78 w 170"/>
                <a:gd name="T33" fmla="*/ 40 h 184"/>
                <a:gd name="T34" fmla="*/ 123 w 170"/>
                <a:gd name="T35" fmla="*/ 40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0" h="184">
                  <a:moveTo>
                    <a:pt x="142" y="22"/>
                  </a:moveTo>
                  <a:cubicBezTo>
                    <a:pt x="142" y="22"/>
                    <a:pt x="141" y="9"/>
                    <a:pt x="130" y="4"/>
                  </a:cubicBezTo>
                  <a:cubicBezTo>
                    <a:pt x="119" y="0"/>
                    <a:pt x="76" y="3"/>
                    <a:pt x="44" y="42"/>
                  </a:cubicBezTo>
                  <a:cubicBezTo>
                    <a:pt x="18" y="75"/>
                    <a:pt x="13" y="104"/>
                    <a:pt x="28" y="120"/>
                  </a:cubicBezTo>
                  <a:cubicBezTo>
                    <a:pt x="39" y="131"/>
                    <a:pt x="69" y="128"/>
                    <a:pt x="100" y="88"/>
                  </a:cubicBezTo>
                  <a:cubicBezTo>
                    <a:pt x="99" y="90"/>
                    <a:pt x="81" y="127"/>
                    <a:pt x="78" y="133"/>
                  </a:cubicBezTo>
                  <a:cubicBezTo>
                    <a:pt x="67" y="152"/>
                    <a:pt x="49" y="165"/>
                    <a:pt x="40" y="166"/>
                  </a:cubicBezTo>
                  <a:cubicBezTo>
                    <a:pt x="17" y="170"/>
                    <a:pt x="13" y="151"/>
                    <a:pt x="12" y="142"/>
                  </a:cubicBezTo>
                  <a:cubicBezTo>
                    <a:pt x="12" y="141"/>
                    <a:pt x="0" y="142"/>
                    <a:pt x="0" y="153"/>
                  </a:cubicBezTo>
                  <a:cubicBezTo>
                    <a:pt x="0" y="168"/>
                    <a:pt x="17" y="184"/>
                    <a:pt x="45" y="180"/>
                  </a:cubicBezTo>
                  <a:cubicBezTo>
                    <a:pt x="94" y="173"/>
                    <a:pt x="112" y="134"/>
                    <a:pt x="134" y="84"/>
                  </a:cubicBezTo>
                  <a:cubicBezTo>
                    <a:pt x="137" y="77"/>
                    <a:pt x="153" y="42"/>
                    <a:pt x="167" y="23"/>
                  </a:cubicBezTo>
                  <a:cubicBezTo>
                    <a:pt x="170" y="20"/>
                    <a:pt x="148" y="15"/>
                    <a:pt x="144" y="19"/>
                  </a:cubicBezTo>
                  <a:lnTo>
                    <a:pt x="142" y="22"/>
                  </a:lnTo>
                  <a:close/>
                  <a:moveTo>
                    <a:pt x="123" y="40"/>
                  </a:moveTo>
                  <a:cubicBezTo>
                    <a:pt x="102" y="72"/>
                    <a:pt x="69" y="109"/>
                    <a:pt x="58" y="92"/>
                  </a:cubicBezTo>
                  <a:cubicBezTo>
                    <a:pt x="54" y="86"/>
                    <a:pt x="56" y="68"/>
                    <a:pt x="78" y="40"/>
                  </a:cubicBezTo>
                  <a:cubicBezTo>
                    <a:pt x="106" y="5"/>
                    <a:pt x="141" y="13"/>
                    <a:pt x="123" y="4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+mn-cs"/>
              </a:endParaRPr>
            </a:p>
          </p:txBody>
        </p:sp>
        <p:sp>
          <p:nvSpPr>
            <p:cNvPr id="16" name="Freeform 23"/>
            <p:cNvSpPr>
              <a:spLocks/>
            </p:cNvSpPr>
            <p:nvPr/>
          </p:nvSpPr>
          <p:spPr bwMode="auto">
            <a:xfrm>
              <a:off x="7723188" y="3400425"/>
              <a:ext cx="303212" cy="584200"/>
            </a:xfrm>
            <a:custGeom>
              <a:avLst/>
              <a:gdLst>
                <a:gd name="T0" fmla="*/ 79 w 81"/>
                <a:gd name="T1" fmla="*/ 18 h 156"/>
                <a:gd name="T2" fmla="*/ 51 w 81"/>
                <a:gd name="T3" fmla="*/ 0 h 156"/>
                <a:gd name="T4" fmla="*/ 6 w 81"/>
                <a:gd name="T5" fmla="*/ 116 h 156"/>
                <a:gd name="T6" fmla="*/ 9 w 81"/>
                <a:gd name="T7" fmla="*/ 152 h 156"/>
                <a:gd name="T8" fmla="*/ 18 w 81"/>
                <a:gd name="T9" fmla="*/ 145 h 156"/>
                <a:gd name="T10" fmla="*/ 75 w 81"/>
                <a:gd name="T11" fmla="*/ 39 h 156"/>
                <a:gd name="T12" fmla="*/ 79 w 81"/>
                <a:gd name="T13" fmla="*/ 1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1" h="156">
                  <a:moveTo>
                    <a:pt x="79" y="18"/>
                  </a:moveTo>
                  <a:cubicBezTo>
                    <a:pt x="74" y="11"/>
                    <a:pt x="57" y="2"/>
                    <a:pt x="51" y="0"/>
                  </a:cubicBezTo>
                  <a:cubicBezTo>
                    <a:pt x="39" y="31"/>
                    <a:pt x="20" y="71"/>
                    <a:pt x="6" y="116"/>
                  </a:cubicBezTo>
                  <a:cubicBezTo>
                    <a:pt x="3" y="129"/>
                    <a:pt x="0" y="145"/>
                    <a:pt x="9" y="152"/>
                  </a:cubicBezTo>
                  <a:cubicBezTo>
                    <a:pt x="14" y="156"/>
                    <a:pt x="16" y="150"/>
                    <a:pt x="18" y="145"/>
                  </a:cubicBezTo>
                  <a:cubicBezTo>
                    <a:pt x="37" y="104"/>
                    <a:pt x="73" y="43"/>
                    <a:pt x="75" y="39"/>
                  </a:cubicBezTo>
                  <a:cubicBezTo>
                    <a:pt x="81" y="29"/>
                    <a:pt x="81" y="21"/>
                    <a:pt x="79" y="1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+mn-cs"/>
              </a:endParaRPr>
            </a:p>
          </p:txBody>
        </p:sp>
        <p:sp>
          <p:nvSpPr>
            <p:cNvPr id="17" name="Oval 24"/>
            <p:cNvSpPr>
              <a:spLocks noChangeArrowheads="1"/>
            </p:cNvSpPr>
            <p:nvPr/>
          </p:nvSpPr>
          <p:spPr bwMode="auto">
            <a:xfrm>
              <a:off x="7640638" y="4014788"/>
              <a:ext cx="134937" cy="1317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+mn-cs"/>
              </a:endParaRPr>
            </a:p>
          </p:txBody>
        </p:sp>
        <p:sp>
          <p:nvSpPr>
            <p:cNvPr id="18" name="Freeform 25"/>
            <p:cNvSpPr>
              <a:spLocks/>
            </p:cNvSpPr>
            <p:nvPr/>
          </p:nvSpPr>
          <p:spPr bwMode="auto">
            <a:xfrm>
              <a:off x="6122988" y="3414713"/>
              <a:ext cx="160337" cy="188913"/>
            </a:xfrm>
            <a:custGeom>
              <a:avLst/>
              <a:gdLst>
                <a:gd name="T0" fmla="*/ 8 w 43"/>
                <a:gd name="T1" fmla="*/ 50 h 50"/>
                <a:gd name="T2" fmla="*/ 43 w 43"/>
                <a:gd name="T3" fmla="*/ 20 h 50"/>
                <a:gd name="T4" fmla="*/ 31 w 43"/>
                <a:gd name="T5" fmla="*/ 4 h 50"/>
                <a:gd name="T6" fmla="*/ 20 w 43"/>
                <a:gd name="T7" fmla="*/ 35 h 50"/>
                <a:gd name="T8" fmla="*/ 3 w 43"/>
                <a:gd name="T9" fmla="*/ 46 h 50"/>
                <a:gd name="T10" fmla="*/ 8 w 43"/>
                <a:gd name="T11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" h="50">
                  <a:moveTo>
                    <a:pt x="8" y="50"/>
                  </a:moveTo>
                  <a:cubicBezTo>
                    <a:pt x="25" y="50"/>
                    <a:pt x="40" y="41"/>
                    <a:pt x="43" y="20"/>
                  </a:cubicBezTo>
                  <a:cubicBezTo>
                    <a:pt x="43" y="18"/>
                    <a:pt x="43" y="6"/>
                    <a:pt x="31" y="4"/>
                  </a:cubicBezTo>
                  <a:cubicBezTo>
                    <a:pt x="7" y="0"/>
                    <a:pt x="2" y="30"/>
                    <a:pt x="20" y="35"/>
                  </a:cubicBezTo>
                  <a:cubicBezTo>
                    <a:pt x="17" y="42"/>
                    <a:pt x="10" y="44"/>
                    <a:pt x="3" y="46"/>
                  </a:cubicBezTo>
                  <a:cubicBezTo>
                    <a:pt x="0" y="47"/>
                    <a:pt x="5" y="50"/>
                    <a:pt x="8" y="5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+mn-cs"/>
              </a:endParaRPr>
            </a:p>
          </p:txBody>
        </p:sp>
        <p:sp>
          <p:nvSpPr>
            <p:cNvPr id="19" name="Freeform 26"/>
            <p:cNvSpPr>
              <a:spLocks noEditPoints="1"/>
            </p:cNvSpPr>
            <p:nvPr/>
          </p:nvSpPr>
          <p:spPr bwMode="auto">
            <a:xfrm>
              <a:off x="7018338" y="3562350"/>
              <a:ext cx="787400" cy="647700"/>
            </a:xfrm>
            <a:custGeom>
              <a:avLst/>
              <a:gdLst>
                <a:gd name="T0" fmla="*/ 158 w 210"/>
                <a:gd name="T1" fmla="*/ 37 h 173"/>
                <a:gd name="T2" fmla="*/ 71 w 210"/>
                <a:gd name="T3" fmla="*/ 154 h 173"/>
                <a:gd name="T4" fmla="*/ 158 w 210"/>
                <a:gd name="T5" fmla="*/ 37 h 173"/>
                <a:gd name="T6" fmla="*/ 132 w 210"/>
                <a:gd name="T7" fmla="*/ 102 h 173"/>
                <a:gd name="T8" fmla="*/ 120 w 210"/>
                <a:gd name="T9" fmla="*/ 119 h 173"/>
                <a:gd name="T10" fmla="*/ 106 w 210"/>
                <a:gd name="T11" fmla="*/ 132 h 173"/>
                <a:gd name="T12" fmla="*/ 84 w 210"/>
                <a:gd name="T13" fmla="*/ 141 h 173"/>
                <a:gd name="T14" fmla="*/ 90 w 210"/>
                <a:gd name="T15" fmla="*/ 81 h 173"/>
                <a:gd name="T16" fmla="*/ 143 w 210"/>
                <a:gd name="T17" fmla="*/ 41 h 173"/>
                <a:gd name="T18" fmla="*/ 132 w 210"/>
                <a:gd name="T19" fmla="*/ 10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0" h="173">
                  <a:moveTo>
                    <a:pt x="158" y="37"/>
                  </a:moveTo>
                  <a:cubicBezTo>
                    <a:pt x="74" y="0"/>
                    <a:pt x="0" y="135"/>
                    <a:pt x="71" y="154"/>
                  </a:cubicBezTo>
                  <a:cubicBezTo>
                    <a:pt x="138" y="173"/>
                    <a:pt x="210" y="60"/>
                    <a:pt x="158" y="37"/>
                  </a:cubicBezTo>
                  <a:moveTo>
                    <a:pt x="132" y="102"/>
                  </a:moveTo>
                  <a:cubicBezTo>
                    <a:pt x="129" y="107"/>
                    <a:pt x="125" y="113"/>
                    <a:pt x="120" y="119"/>
                  </a:cubicBezTo>
                  <a:cubicBezTo>
                    <a:pt x="114" y="124"/>
                    <a:pt x="110" y="129"/>
                    <a:pt x="106" y="132"/>
                  </a:cubicBezTo>
                  <a:cubicBezTo>
                    <a:pt x="98" y="137"/>
                    <a:pt x="91" y="141"/>
                    <a:pt x="84" y="141"/>
                  </a:cubicBezTo>
                  <a:cubicBezTo>
                    <a:pt x="67" y="140"/>
                    <a:pt x="70" y="108"/>
                    <a:pt x="90" y="81"/>
                  </a:cubicBezTo>
                  <a:cubicBezTo>
                    <a:pt x="105" y="59"/>
                    <a:pt x="127" y="34"/>
                    <a:pt x="143" y="41"/>
                  </a:cubicBezTo>
                  <a:cubicBezTo>
                    <a:pt x="155" y="47"/>
                    <a:pt x="148" y="74"/>
                    <a:pt x="132" y="10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6C6F70"/>
                </a:solidFill>
                <a:latin typeface="+mn-lt"/>
                <a:cs typeface="+mn-cs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24" r:id="rId1"/>
    <p:sldLayoutId id="2147484225" r:id="rId2"/>
    <p:sldLayoutId id="2147484226" r:id="rId3"/>
    <p:sldLayoutId id="2147484227" r:id="rId4"/>
    <p:sldLayoutId id="2147484228" r:id="rId5"/>
    <p:sldLayoutId id="2147484229" r:id="rId6"/>
    <p:sldLayoutId id="2147484230" r:id="rId7"/>
    <p:sldLayoutId id="2147484231" r:id="rId8"/>
    <p:sldLayoutId id="2147484232" r:id="rId9"/>
    <p:sldLayoutId id="2147484233" r:id="rId10"/>
    <p:sldLayoutId id="2147484234" r:id="rId11"/>
    <p:sldLayoutId id="2147484235" r:id="rId12"/>
    <p:sldLayoutId id="2147484236" r:id="rId13"/>
    <p:sldLayoutId id="2147484208" r:id="rId14"/>
    <p:sldLayoutId id="2147484209" r:id="rId15"/>
    <p:sldLayoutId id="2147484210" r:id="rId16"/>
    <p:sldLayoutId id="2147484211" r:id="rId17"/>
    <p:sldLayoutId id="2147484212" r:id="rId18"/>
    <p:sldLayoutId id="2147484213" r:id="rId19"/>
    <p:sldLayoutId id="2147484214" r:id="rId20"/>
    <p:sldLayoutId id="2147484238" r:id="rId21"/>
    <p:sldLayoutId id="2147484239" r:id="rId22"/>
    <p:sldLayoutId id="2147484240" r:id="rId23"/>
    <p:sldLayoutId id="2147484241" r:id="rId24"/>
    <p:sldLayoutId id="2147484242" r:id="rId25"/>
    <p:sldLayoutId id="2147484243" r:id="rId26"/>
    <p:sldLayoutId id="2147484244" r:id="rId27"/>
    <p:sldLayoutId id="2147484245" r:id="rId28"/>
    <p:sldLayoutId id="2147484246" r:id="rId29"/>
    <p:sldLayoutId id="2147484247" r:id="rId30"/>
    <p:sldLayoutId id="2147484248" r:id="rId31"/>
    <p:sldLayoutId id="2147484249" r:id="rId32"/>
    <p:sldLayoutId id="2147484250" r:id="rId33"/>
    <p:sldLayoutId id="2147484251" r:id="rId34"/>
    <p:sldLayoutId id="2147484252" r:id="rId35"/>
    <p:sldLayoutId id="2147484253" r:id="rId36"/>
    <p:sldLayoutId id="2147484254" r:id="rId37"/>
    <p:sldLayoutId id="2147484255" r:id="rId38"/>
    <p:sldLayoutId id="2147484256" r:id="rId39"/>
    <p:sldLayoutId id="2147484257" r:id="rId40"/>
    <p:sldLayoutId id="2147484258" r:id="rId41"/>
    <p:sldLayoutId id="2147484259" r:id="rId42"/>
    <p:sldLayoutId id="2147484260" r:id="rId43"/>
    <p:sldLayoutId id="2147484261" r:id="rId44"/>
    <p:sldLayoutId id="2147484262" r:id="rId45"/>
    <p:sldLayoutId id="2147484263" r:id="rId46"/>
    <p:sldLayoutId id="2147484264" r:id="rId47"/>
    <p:sldLayoutId id="2147484265" r:id="rId48"/>
    <p:sldLayoutId id="2147484267" r:id="rId49"/>
    <p:sldLayoutId id="2147484268" r:id="rId50"/>
    <p:sldLayoutId id="2147484270" r:id="rId51"/>
    <p:sldLayoutId id="2147484271" r:id="rId52"/>
    <p:sldLayoutId id="2147484272" r:id="rId53"/>
    <p:sldLayoutId id="2147484273" r:id="rId54"/>
    <p:sldLayoutId id="2147484274" r:id="rId55"/>
    <p:sldLayoutId id="2147484275" r:id="rId56"/>
    <p:sldLayoutId id="2147484276" r:id="rId57"/>
    <p:sldLayoutId id="2147484277" r:id="rId58"/>
    <p:sldLayoutId id="2147484278" r:id="rId59"/>
    <p:sldLayoutId id="2147484280" r:id="rId60"/>
    <p:sldLayoutId id="2147484281" r:id="rId61"/>
    <p:sldLayoutId id="2147484282" r:id="rId62"/>
    <p:sldLayoutId id="2147484283" r:id="rId63"/>
    <p:sldLayoutId id="2147484284" r:id="rId64"/>
    <p:sldLayoutId id="2147484285" r:id="rId65"/>
    <p:sldLayoutId id="2147484286" r:id="rId66"/>
    <p:sldLayoutId id="2147484287" r:id="rId6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Calibri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Calibri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Calibri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Calibri" pitchFamily="34" charset="0"/>
        </a:defRPr>
      </a:lvl5pPr>
      <a:lvl6pPr marL="457160" algn="l" rtl="0" fontAlgn="base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Calibri" pitchFamily="34" charset="0"/>
        </a:defRPr>
      </a:lvl6pPr>
      <a:lvl7pPr marL="914320" algn="l" rtl="0" fontAlgn="base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Calibri" pitchFamily="34" charset="0"/>
        </a:defRPr>
      </a:lvl7pPr>
      <a:lvl8pPr marL="1371480" algn="l" rtl="0" fontAlgn="base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Calibri" pitchFamily="34" charset="0"/>
        </a:defRPr>
      </a:lvl8pPr>
      <a:lvl9pPr marL="1828639" algn="l" rtl="0" fontAlgn="base">
        <a:lnSpc>
          <a:spcPct val="90000"/>
        </a:lnSpc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Calibri" pitchFamily="34" charset="0"/>
        </a:defRPr>
      </a:lvl9pPr>
    </p:titleStyle>
    <p:bodyStyle>
      <a:lvl1pPr marL="136525" indent="-13652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46075" indent="-19843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6100" indent="-18891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62013" indent="-21431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077913" indent="-21431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78" indent="-228580" algn="l" defTabSz="91432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38" indent="-228580" algn="l" defTabSz="91432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98" indent="-228580" algn="l" defTabSz="91432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58" indent="-228580" algn="l" defTabSz="91432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0" algn="l" defTabSz="9143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0" algn="l" defTabSz="9143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0" algn="l" defTabSz="9143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39" algn="l" defTabSz="9143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9" algn="l" defTabSz="9143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59" algn="l" defTabSz="9143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18" algn="l" defTabSz="9143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78" algn="l" defTabSz="91432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8"/>
          <p:cNvSpPr txBox="1">
            <a:spLocks noChangeArrowheads="1"/>
          </p:cNvSpPr>
          <p:nvPr/>
        </p:nvSpPr>
        <p:spPr bwMode="auto">
          <a:xfrm>
            <a:off x="1568624" y="5013176"/>
            <a:ext cx="237566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b="1" dirty="0">
              <a:solidFill>
                <a:srgbClr val="002060"/>
              </a:solidFill>
            </a:endParaRPr>
          </a:p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ru-RU" sz="1400" dirty="0">
                <a:solidFill>
                  <a:srgbClr val="002060"/>
                </a:solidFill>
              </a:rPr>
              <a:t> </a:t>
            </a:r>
          </a:p>
        </p:txBody>
      </p:sp>
      <p:sp>
        <p:nvSpPr>
          <p:cNvPr id="16" name="TextBox 7"/>
          <p:cNvSpPr txBox="1">
            <a:spLocks noChangeArrowheads="1"/>
          </p:cNvSpPr>
          <p:nvPr/>
        </p:nvSpPr>
        <p:spPr bwMode="auto">
          <a:xfrm>
            <a:off x="1568624" y="4509120"/>
            <a:ext cx="184731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b="1" dirty="0">
              <a:solidFill>
                <a:srgbClr val="002060"/>
              </a:solidFill>
            </a:endParaRPr>
          </a:p>
          <a:p>
            <a:endParaRPr lang="ru-RU" b="1" dirty="0">
              <a:solidFill>
                <a:srgbClr val="002060"/>
              </a:solidFill>
            </a:endParaRPr>
          </a:p>
          <a:p>
            <a:endParaRPr lang="ru-RU" sz="2400" b="1" dirty="0">
              <a:solidFill>
                <a:srgbClr val="00206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023910" y="1214420"/>
            <a:ext cx="835824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just">
              <a:buNone/>
            </a:pPr>
            <a:endParaRPr lang="ru-RU" dirty="0" smtClean="0"/>
          </a:p>
          <a:p>
            <a:pPr marL="0" indent="0" algn="ctr">
              <a:buNone/>
            </a:pPr>
            <a:endParaRPr lang="ru-RU" dirty="0" smtClean="0"/>
          </a:p>
          <a:p>
            <a:pPr marL="0" indent="0" algn="just">
              <a:buNone/>
            </a:pPr>
            <a:endParaRPr lang="ru-RU" dirty="0" smtClean="0">
              <a:solidFill>
                <a:srgbClr val="0070C0"/>
              </a:solidFill>
            </a:endParaRPr>
          </a:p>
          <a:p>
            <a:pPr marL="0" indent="0" algn="just">
              <a:buNone/>
            </a:pPr>
            <a:endParaRPr lang="ru-RU" dirty="0" smtClean="0">
              <a:solidFill>
                <a:srgbClr val="0070C0"/>
              </a:solidFill>
            </a:endParaRPr>
          </a:p>
          <a:p>
            <a:pPr marL="0" indent="0" algn="ctr">
              <a:buNone/>
            </a:pPr>
            <a:endParaRPr lang="ru-RU" dirty="0" smtClean="0">
              <a:solidFill>
                <a:srgbClr val="0070C0"/>
              </a:solidFill>
            </a:endParaRPr>
          </a:p>
        </p:txBody>
      </p:sp>
      <p:pic>
        <p:nvPicPr>
          <p:cNvPr id="12" name="Picture 2" descr="Z:\11.Департамент маркетинга\Дизайнер\Logo_blue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89304" y="6100680"/>
            <a:ext cx="1896641" cy="640688"/>
          </a:xfrm>
          <a:prstGeom prst="rect">
            <a:avLst/>
          </a:prstGeom>
          <a:noFill/>
        </p:spPr>
      </p:pic>
      <p:sp>
        <p:nvSpPr>
          <p:cNvPr id="8" name="Прямоугольник 7"/>
          <p:cNvSpPr/>
          <p:nvPr/>
        </p:nvSpPr>
        <p:spPr>
          <a:xfrm>
            <a:off x="992560" y="2852936"/>
            <a:ext cx="642131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/>
              <a:t>Грандиозный, масштабный </a:t>
            </a:r>
            <a:r>
              <a:rPr lang="en-US" sz="2400" b="1" dirty="0" smtClean="0"/>
              <a:t>workshop </a:t>
            </a:r>
            <a:r>
              <a:rPr lang="ru-RU" sz="2400" b="1" dirty="0" smtClean="0"/>
              <a:t>в России</a:t>
            </a:r>
            <a:endParaRPr lang="ru-RU" sz="2400" b="1" dirty="0"/>
          </a:p>
        </p:txBody>
      </p:sp>
      <p:pic>
        <p:nvPicPr>
          <p:cNvPr id="9" name="Рисунок 8" descr="Logo_RTF_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64568" y="0"/>
            <a:ext cx="7091636" cy="2626532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1064568" y="3429000"/>
            <a:ext cx="698477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/>
              <a:t>Региональный Туристический Форум </a:t>
            </a:r>
            <a:r>
              <a:rPr lang="en-US" b="1" dirty="0" smtClean="0"/>
              <a:t>– </a:t>
            </a:r>
            <a:r>
              <a:rPr lang="ru-RU" b="1" dirty="0" smtClean="0"/>
              <a:t>это идеальный формат мероприятий для привлечения </a:t>
            </a:r>
            <a:r>
              <a:rPr lang="ru-RU" b="1" dirty="0" err="1" smtClean="0"/>
              <a:t>турагентов</a:t>
            </a:r>
            <a:r>
              <a:rPr lang="ru-RU" b="1" dirty="0" smtClean="0"/>
              <a:t> и близкого знакомства с продуктом, туристическими маршрутами и регионами на базе одной площадки. </a:t>
            </a:r>
          </a:p>
        </p:txBody>
      </p:sp>
    </p:spTree>
    <p:extLst>
      <p:ext uri="{BB962C8B-B14F-4D97-AF65-F5344CB8AC3E}">
        <p14:creationId xmlns:p14="http://schemas.microsoft.com/office/powerpoint/2010/main" val="334050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Прямая соединительная линия 5"/>
          <p:cNvCxnSpPr/>
          <p:nvPr/>
        </p:nvCxnSpPr>
        <p:spPr>
          <a:xfrm>
            <a:off x="488504" y="1052736"/>
            <a:ext cx="9001000" cy="0"/>
          </a:xfrm>
          <a:prstGeom prst="line">
            <a:avLst/>
          </a:prstGeom>
          <a:ln w="19050">
            <a:solidFill>
              <a:srgbClr val="0070C0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373762" name="Picture 2" descr="Z:\11.Департамент маркетинга\Дизайнер\Logo_blue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89304" y="6100680"/>
            <a:ext cx="1896641" cy="640688"/>
          </a:xfrm>
          <a:prstGeom prst="rect">
            <a:avLst/>
          </a:prstGeom>
          <a:noFill/>
        </p:spPr>
      </p:pic>
      <p:pic>
        <p:nvPicPr>
          <p:cNvPr id="373763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8464" y="6165304"/>
            <a:ext cx="668337" cy="5784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extBox 8"/>
          <p:cNvSpPr txBox="1">
            <a:spLocks noChangeArrowheads="1"/>
          </p:cNvSpPr>
          <p:nvPr/>
        </p:nvSpPr>
        <p:spPr bwMode="auto">
          <a:xfrm>
            <a:off x="1568624" y="5013176"/>
            <a:ext cx="237566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b="1" dirty="0">
              <a:solidFill>
                <a:srgbClr val="002060"/>
              </a:solidFill>
            </a:endParaRPr>
          </a:p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ru-RU" sz="1400" dirty="0">
                <a:solidFill>
                  <a:srgbClr val="002060"/>
                </a:solidFill>
              </a:rPr>
              <a:t> </a:t>
            </a:r>
          </a:p>
        </p:txBody>
      </p:sp>
      <p:sp>
        <p:nvSpPr>
          <p:cNvPr id="16" name="TextBox 7"/>
          <p:cNvSpPr txBox="1">
            <a:spLocks noChangeArrowheads="1"/>
          </p:cNvSpPr>
          <p:nvPr/>
        </p:nvSpPr>
        <p:spPr bwMode="auto">
          <a:xfrm>
            <a:off x="1568624" y="4509120"/>
            <a:ext cx="184731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b="1" dirty="0">
              <a:solidFill>
                <a:srgbClr val="002060"/>
              </a:solidFill>
            </a:endParaRPr>
          </a:p>
          <a:p>
            <a:endParaRPr lang="ru-RU" b="1" dirty="0">
              <a:solidFill>
                <a:srgbClr val="002060"/>
              </a:solidFill>
            </a:endParaRPr>
          </a:p>
          <a:p>
            <a:endParaRPr lang="ru-RU" sz="2400" b="1" dirty="0">
              <a:solidFill>
                <a:srgbClr val="002060"/>
              </a:solidFill>
              <a:latin typeface="Calibri" pitchFamily="34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023910" y="1214420"/>
            <a:ext cx="835824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just">
              <a:buNone/>
            </a:pPr>
            <a:endParaRPr lang="ru-RU" dirty="0" smtClean="0"/>
          </a:p>
          <a:p>
            <a:pPr marL="0" indent="0" algn="ctr">
              <a:buNone/>
            </a:pPr>
            <a:endParaRPr lang="ru-RU" dirty="0" smtClean="0"/>
          </a:p>
          <a:p>
            <a:pPr marL="0" indent="0" algn="just">
              <a:buNone/>
            </a:pPr>
            <a:endParaRPr lang="ru-RU" dirty="0" smtClean="0">
              <a:solidFill>
                <a:srgbClr val="0070C0"/>
              </a:solidFill>
            </a:endParaRPr>
          </a:p>
          <a:p>
            <a:pPr marL="0" indent="0" algn="just">
              <a:buNone/>
            </a:pPr>
            <a:endParaRPr lang="ru-RU" dirty="0" smtClean="0">
              <a:solidFill>
                <a:srgbClr val="0070C0"/>
              </a:solidFill>
            </a:endParaRPr>
          </a:p>
          <a:p>
            <a:pPr marL="0" indent="0" algn="ctr">
              <a:buNone/>
            </a:pPr>
            <a:endParaRPr lang="ru-RU" dirty="0" smtClean="0">
              <a:solidFill>
                <a:srgbClr val="0070C0"/>
              </a:solidFill>
            </a:endParaRPr>
          </a:p>
        </p:txBody>
      </p:sp>
      <p:sp>
        <p:nvSpPr>
          <p:cNvPr id="13" name="Заголовок 4"/>
          <p:cNvSpPr txBox="1">
            <a:spLocks/>
          </p:cNvSpPr>
          <p:nvPr/>
        </p:nvSpPr>
        <p:spPr bwMode="auto">
          <a:xfrm>
            <a:off x="488504" y="692696"/>
            <a:ext cx="8064896" cy="576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3200" b="1" dirty="0" smtClean="0">
                <a:latin typeface="+mj-lt"/>
                <a:ea typeface="+mj-ea"/>
                <a:cs typeface="+mj-cs"/>
              </a:rPr>
              <a:t>Типовая концепция основных павильонов</a:t>
            </a:r>
            <a:r>
              <a:rPr kumimoji="0" lang="en-US" sz="32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en-US" sz="32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</a:br>
            <a:endParaRPr kumimoji="0" lang="ru-RU" sz="32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88504" y="1124744"/>
            <a:ext cx="921702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/>
              <a:t>Основная часть выставки-конгресса будет проходить в одном зале. Атмосфера ярмарки. Сцена для презентаций доминирует по звуку  и высоте, чтобы все участники могли из любой точки слышать и видеть презентации. В отдельные залы гостей для презентаций не перемещаем, чтобы не терять аудиторию. В течении всего времени для гостей бесплатный фуршет с едой и напитками. </a:t>
            </a:r>
          </a:p>
        </p:txBody>
      </p:sp>
      <p:pic>
        <p:nvPicPr>
          <p:cNvPr id="3" name="Picture 3" descr="M:\РТФ 2017\КАЗАНЬ\ZNL -15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52999" y="2420888"/>
            <a:ext cx="4464497" cy="3144713"/>
          </a:xfrm>
          <a:prstGeom prst="rect">
            <a:avLst/>
          </a:prstGeom>
          <a:noFill/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937666" y="1733088"/>
            <a:ext cx="3471549" cy="4847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050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heme/theme1.xml><?xml version="1.0" encoding="utf-8"?>
<a:theme xmlns:a="http://schemas.openxmlformats.org/drawingml/2006/main" name="TC Rebrand v1.0">
  <a:themeElements>
    <a:clrScheme name="TC Group Rebrand v1.0">
      <a:dk1>
        <a:srgbClr val="6C6F70"/>
      </a:dk1>
      <a:lt1>
        <a:srgbClr val="FFFFFF"/>
      </a:lt1>
      <a:dk2>
        <a:srgbClr val="000000"/>
      </a:dk2>
      <a:lt2>
        <a:srgbClr val="F8AC00"/>
      </a:lt2>
      <a:accent1>
        <a:srgbClr val="E6E6E6"/>
      </a:accent1>
      <a:accent2>
        <a:srgbClr val="CCCCCC"/>
      </a:accent2>
      <a:accent3>
        <a:srgbClr val="6C6F70"/>
      </a:accent3>
      <a:accent4>
        <a:srgbClr val="1DB3B8"/>
      </a:accent4>
      <a:accent5>
        <a:srgbClr val="A65CB0"/>
      </a:accent5>
      <a:accent6>
        <a:srgbClr val="A89F7B"/>
      </a:accent6>
      <a:hlink>
        <a:srgbClr val="838095"/>
      </a:hlink>
      <a:folHlink>
        <a:srgbClr val="87A0A3"/>
      </a:folHlink>
    </a:clrScheme>
    <a:fontScheme name="Thomas Cook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6350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985</TotalTime>
  <Words>100</Words>
  <Application>Microsoft Office PowerPoint</Application>
  <PresentationFormat>Лист A4 (210x297 мм)</PresentationFormat>
  <Paragraphs>18</Paragraphs>
  <Slides>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8" baseType="lpstr">
      <vt:lpstr>MS PGothic</vt:lpstr>
      <vt:lpstr>Arial</vt:lpstr>
      <vt:lpstr>Calibri</vt:lpstr>
      <vt:lpstr>Times New Roman</vt:lpstr>
      <vt:lpstr>TC Rebrand v1.0</vt:lpstr>
      <vt:lpstr>think-cell Slide</vt:lpstr>
      <vt:lpstr>Презентация PowerPoint</vt:lpstr>
      <vt:lpstr>Презентация PowerPoint</vt:lpstr>
    </vt:vector>
  </TitlesOfParts>
  <Company>Thomas Cook GIS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ERT TITLE</dc:title>
  <dc:creator>Sacerdoti, Daniel</dc:creator>
  <cp:lastModifiedBy>Липатов Алексей</cp:lastModifiedBy>
  <cp:revision>603</cp:revision>
  <cp:lastPrinted>2015-10-19T16:10:36Z</cp:lastPrinted>
  <dcterms:created xsi:type="dcterms:W3CDTF">2013-11-04T15:04:46Z</dcterms:created>
  <dcterms:modified xsi:type="dcterms:W3CDTF">2017-05-24T14:03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2010EditCount">
    <vt:lpwstr>1</vt:lpwstr>
  </property>
  <property fmtid="{D5CDD505-2E9C-101B-9397-08002B2CF9AE}" pid="3" name="Office2003EditCount">
    <vt:lpwstr>0</vt:lpwstr>
  </property>
  <property fmtid="{D5CDD505-2E9C-101B-9397-08002B2CF9AE}" pid="4" name="LastEditedOfficeVersion">
    <vt:lpwstr>Office2010</vt:lpwstr>
  </property>
  <property fmtid="{D5CDD505-2E9C-101B-9397-08002B2CF9AE}" pid="5" name="Office2010WasSaved">
    <vt:lpwstr>1</vt:lpwstr>
  </property>
</Properties>
</file>